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kv" ContentType="video/unknown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10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tags/tag12.xml" ContentType="application/vnd.openxmlformats-officedocument.presentationml.tags+xml"/>
  <Override PartName="/ppt/notesSlides/notesSlide26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27.xml" ContentType="application/vnd.openxmlformats-officedocument.presentationml.notesSlide+xml"/>
  <Override PartName="/ppt/comments/comment3.xml" ContentType="application/vnd.openxmlformats-officedocument.presentationml.comment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28.xml" ContentType="application/vnd.openxmlformats-officedocument.presentationml.notesSlide+xml"/>
  <Override PartName="/ppt/comments/comment4.xml" ContentType="application/vnd.openxmlformats-officedocument.presentationml.comments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comments/comment5.xml" ContentType="application/vnd.openxmlformats-officedocument.presentationml.comments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  <p:sldMasterId id="2147493599" r:id="rId6"/>
  </p:sldMasterIdLst>
  <p:notesMasterIdLst>
    <p:notesMasterId r:id="rId102"/>
  </p:notesMasterIdLst>
  <p:handoutMasterIdLst>
    <p:handoutMasterId r:id="rId103"/>
  </p:handoutMasterIdLst>
  <p:sldIdLst>
    <p:sldId id="256" r:id="rId7"/>
    <p:sldId id="433" r:id="rId8"/>
    <p:sldId id="373" r:id="rId9"/>
    <p:sldId id="416" r:id="rId10"/>
    <p:sldId id="417" r:id="rId11"/>
    <p:sldId id="418" r:id="rId12"/>
    <p:sldId id="419" r:id="rId13"/>
    <p:sldId id="370" r:id="rId14"/>
    <p:sldId id="369" r:id="rId15"/>
    <p:sldId id="378" r:id="rId16"/>
    <p:sldId id="301" r:id="rId17"/>
    <p:sldId id="302" r:id="rId18"/>
    <p:sldId id="303" r:id="rId19"/>
    <p:sldId id="304" r:id="rId20"/>
    <p:sldId id="305" r:id="rId21"/>
    <p:sldId id="306" r:id="rId22"/>
    <p:sldId id="307" r:id="rId23"/>
    <p:sldId id="308" r:id="rId24"/>
    <p:sldId id="309" r:id="rId25"/>
    <p:sldId id="310" r:id="rId26"/>
    <p:sldId id="311" r:id="rId27"/>
    <p:sldId id="312" r:id="rId28"/>
    <p:sldId id="313" r:id="rId29"/>
    <p:sldId id="314" r:id="rId30"/>
    <p:sldId id="315" r:id="rId31"/>
    <p:sldId id="316" r:id="rId32"/>
    <p:sldId id="399" r:id="rId33"/>
    <p:sldId id="400" r:id="rId34"/>
    <p:sldId id="401" r:id="rId35"/>
    <p:sldId id="402" r:id="rId36"/>
    <p:sldId id="403" r:id="rId37"/>
    <p:sldId id="404" r:id="rId38"/>
    <p:sldId id="405" r:id="rId39"/>
    <p:sldId id="420" r:id="rId40"/>
    <p:sldId id="421" r:id="rId41"/>
    <p:sldId id="424" r:id="rId42"/>
    <p:sldId id="423" r:id="rId43"/>
    <p:sldId id="422" r:id="rId44"/>
    <p:sldId id="374" r:id="rId45"/>
    <p:sldId id="382" r:id="rId46"/>
    <p:sldId id="318" r:id="rId47"/>
    <p:sldId id="425" r:id="rId48"/>
    <p:sldId id="320" r:id="rId49"/>
    <p:sldId id="426" r:id="rId50"/>
    <p:sldId id="427" r:id="rId51"/>
    <p:sldId id="323" r:id="rId52"/>
    <p:sldId id="428" r:id="rId53"/>
    <p:sldId id="429" r:id="rId54"/>
    <p:sldId id="324" r:id="rId55"/>
    <p:sldId id="430" r:id="rId56"/>
    <p:sldId id="432" r:id="rId57"/>
    <p:sldId id="431" r:id="rId58"/>
    <p:sldId id="325" r:id="rId59"/>
    <p:sldId id="327" r:id="rId60"/>
    <p:sldId id="328" r:id="rId61"/>
    <p:sldId id="394" r:id="rId62"/>
    <p:sldId id="329" r:id="rId63"/>
    <p:sldId id="368" r:id="rId64"/>
    <p:sldId id="408" r:id="rId65"/>
    <p:sldId id="409" r:id="rId66"/>
    <p:sldId id="410" r:id="rId67"/>
    <p:sldId id="411" r:id="rId68"/>
    <p:sldId id="412" r:id="rId69"/>
    <p:sldId id="413" r:id="rId70"/>
    <p:sldId id="414" r:id="rId71"/>
    <p:sldId id="395" r:id="rId72"/>
    <p:sldId id="396" r:id="rId73"/>
    <p:sldId id="375" r:id="rId74"/>
    <p:sldId id="398" r:id="rId75"/>
    <p:sldId id="397" r:id="rId76"/>
    <p:sldId id="359" r:id="rId77"/>
    <p:sldId id="360" r:id="rId78"/>
    <p:sldId id="376" r:id="rId79"/>
    <p:sldId id="343" r:id="rId80"/>
    <p:sldId id="344" r:id="rId81"/>
    <p:sldId id="345" r:id="rId82"/>
    <p:sldId id="361" r:id="rId83"/>
    <p:sldId id="347" r:id="rId84"/>
    <p:sldId id="348" r:id="rId85"/>
    <p:sldId id="362" r:id="rId86"/>
    <p:sldId id="352" r:id="rId87"/>
    <p:sldId id="353" r:id="rId88"/>
    <p:sldId id="354" r:id="rId89"/>
    <p:sldId id="363" r:id="rId90"/>
    <p:sldId id="364" r:id="rId91"/>
    <p:sldId id="377" r:id="rId92"/>
    <p:sldId id="350" r:id="rId93"/>
    <p:sldId id="355" r:id="rId94"/>
    <p:sldId id="349" r:id="rId95"/>
    <p:sldId id="357" r:id="rId96"/>
    <p:sldId id="358" r:id="rId97"/>
    <p:sldId id="406" r:id="rId98"/>
    <p:sldId id="407" r:id="rId99"/>
    <p:sldId id="434" r:id="rId100"/>
    <p:sldId id="299" r:id="rId101"/>
  </p:sldIdLst>
  <p:sldSz cx="9144000" cy="6858000" type="screen4x3"/>
  <p:notesSz cx="7023100" cy="9309100"/>
  <p:custDataLst>
    <p:tags r:id="rId104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ng, Pavel" initials="KP" lastIdx="8" clrIdx="0">
    <p:extLst>
      <p:ext uri="{19B8F6BF-5375-455C-9EA6-DF929625EA0E}">
        <p15:presenceInfo xmlns:p15="http://schemas.microsoft.com/office/powerpoint/2012/main" userId="S-1-5-21-3588447096-1463914-869570945-832978" providerId="AD"/>
      </p:ext>
    </p:extLst>
  </p:cmAuthor>
  <p:cmAuthor id="2" name="Gomola, Alojz" initials="GA" lastIdx="33" clrIdx="1">
    <p:extLst>
      <p:ext uri="{19B8F6BF-5375-455C-9EA6-DF929625EA0E}">
        <p15:presenceInfo xmlns:p15="http://schemas.microsoft.com/office/powerpoint/2012/main" userId="S-1-5-21-3588447096-1463914-869570945-1432209" providerId="AD"/>
      </p:ext>
    </p:extLst>
  </p:cmAuthor>
  <p:cmAuthor id="3" name="Alojz Gomola" initials="AG" lastIdx="3" clrIdx="2">
    <p:extLst>
      <p:ext uri="{19B8F6BF-5375-455C-9EA6-DF929625EA0E}">
        <p15:presenceInfo xmlns:p15="http://schemas.microsoft.com/office/powerpoint/2012/main" userId="f7439ce9bf568963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2819"/>
    <a:srgbClr val="7F7F7F"/>
    <a:srgbClr val="000000"/>
    <a:srgbClr val="EE3124"/>
    <a:srgbClr val="595959"/>
    <a:srgbClr val="E71D1D"/>
    <a:srgbClr val="E42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726" autoAdjust="0"/>
    <p:restoredTop sz="95280" autoAdjust="0"/>
  </p:normalViewPr>
  <p:slideViewPr>
    <p:cSldViewPr snapToGrid="0" snapToObjects="1">
      <p:cViewPr varScale="1">
        <p:scale>
          <a:sx n="114" d="100"/>
          <a:sy n="114" d="100"/>
        </p:scale>
        <p:origin x="1518" y="102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83" d="100"/>
          <a:sy n="83" d="100"/>
        </p:scale>
        <p:origin x="3888" y="7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63" Type="http://schemas.openxmlformats.org/officeDocument/2006/relationships/slide" Target="slides/slide57.xml"/><Relationship Id="rId68" Type="http://schemas.openxmlformats.org/officeDocument/2006/relationships/slide" Target="slides/slide62.xml"/><Relationship Id="rId84" Type="http://schemas.openxmlformats.org/officeDocument/2006/relationships/slide" Target="slides/slide78.xml"/><Relationship Id="rId89" Type="http://schemas.openxmlformats.org/officeDocument/2006/relationships/slide" Target="slides/slide83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07" Type="http://schemas.openxmlformats.org/officeDocument/2006/relationships/viewProps" Target="viewProps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slide" Target="slides/slide47.xml"/><Relationship Id="rId58" Type="http://schemas.openxmlformats.org/officeDocument/2006/relationships/slide" Target="slides/slide52.xml"/><Relationship Id="rId66" Type="http://schemas.openxmlformats.org/officeDocument/2006/relationships/slide" Target="slides/slide60.xml"/><Relationship Id="rId74" Type="http://schemas.openxmlformats.org/officeDocument/2006/relationships/slide" Target="slides/slide68.xml"/><Relationship Id="rId79" Type="http://schemas.openxmlformats.org/officeDocument/2006/relationships/slide" Target="slides/slide73.xml"/><Relationship Id="rId87" Type="http://schemas.openxmlformats.org/officeDocument/2006/relationships/slide" Target="slides/slide81.xml"/><Relationship Id="rId102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55.xml"/><Relationship Id="rId82" Type="http://schemas.openxmlformats.org/officeDocument/2006/relationships/slide" Target="slides/slide76.xml"/><Relationship Id="rId90" Type="http://schemas.openxmlformats.org/officeDocument/2006/relationships/slide" Target="slides/slide84.xml"/><Relationship Id="rId95" Type="http://schemas.openxmlformats.org/officeDocument/2006/relationships/slide" Target="slides/slide89.xml"/><Relationship Id="rId19" Type="http://schemas.openxmlformats.org/officeDocument/2006/relationships/slide" Target="slides/slide1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slide" Target="slides/slide50.xml"/><Relationship Id="rId64" Type="http://schemas.openxmlformats.org/officeDocument/2006/relationships/slide" Target="slides/slide58.xml"/><Relationship Id="rId69" Type="http://schemas.openxmlformats.org/officeDocument/2006/relationships/slide" Target="slides/slide63.xml"/><Relationship Id="rId77" Type="http://schemas.openxmlformats.org/officeDocument/2006/relationships/slide" Target="slides/slide71.xml"/><Relationship Id="rId100" Type="http://schemas.openxmlformats.org/officeDocument/2006/relationships/slide" Target="slides/slide94.xml"/><Relationship Id="rId105" Type="http://schemas.openxmlformats.org/officeDocument/2006/relationships/commentAuthors" Target="commentAuthors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72" Type="http://schemas.openxmlformats.org/officeDocument/2006/relationships/slide" Target="slides/slide66.xml"/><Relationship Id="rId80" Type="http://schemas.openxmlformats.org/officeDocument/2006/relationships/slide" Target="slides/slide74.xml"/><Relationship Id="rId85" Type="http://schemas.openxmlformats.org/officeDocument/2006/relationships/slide" Target="slides/slide79.xml"/><Relationship Id="rId93" Type="http://schemas.openxmlformats.org/officeDocument/2006/relationships/slide" Target="slides/slide87.xml"/><Relationship Id="rId98" Type="http://schemas.openxmlformats.org/officeDocument/2006/relationships/slide" Target="slides/slide92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slide" Target="slides/slide53.xml"/><Relationship Id="rId67" Type="http://schemas.openxmlformats.org/officeDocument/2006/relationships/slide" Target="slides/slide61.xml"/><Relationship Id="rId103" Type="http://schemas.openxmlformats.org/officeDocument/2006/relationships/handoutMaster" Target="handoutMasters/handoutMaster1.xml"/><Relationship Id="rId108" Type="http://schemas.openxmlformats.org/officeDocument/2006/relationships/theme" Target="theme/theme1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openxmlformats.org/officeDocument/2006/relationships/slide" Target="slides/slide56.xml"/><Relationship Id="rId70" Type="http://schemas.openxmlformats.org/officeDocument/2006/relationships/slide" Target="slides/slide64.xml"/><Relationship Id="rId75" Type="http://schemas.openxmlformats.org/officeDocument/2006/relationships/slide" Target="slides/slide69.xml"/><Relationship Id="rId83" Type="http://schemas.openxmlformats.org/officeDocument/2006/relationships/slide" Target="slides/slide77.xml"/><Relationship Id="rId88" Type="http://schemas.openxmlformats.org/officeDocument/2006/relationships/slide" Target="slides/slide82.xml"/><Relationship Id="rId91" Type="http://schemas.openxmlformats.org/officeDocument/2006/relationships/slide" Target="slides/slide85.xml"/><Relationship Id="rId96" Type="http://schemas.openxmlformats.org/officeDocument/2006/relationships/slide" Target="slides/slide90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slide" Target="slides/slide51.xml"/><Relationship Id="rId106" Type="http://schemas.openxmlformats.org/officeDocument/2006/relationships/presProps" Target="presProps.xml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slide" Target="slides/slide54.xml"/><Relationship Id="rId65" Type="http://schemas.openxmlformats.org/officeDocument/2006/relationships/slide" Target="slides/slide59.xml"/><Relationship Id="rId73" Type="http://schemas.openxmlformats.org/officeDocument/2006/relationships/slide" Target="slides/slide67.xml"/><Relationship Id="rId78" Type="http://schemas.openxmlformats.org/officeDocument/2006/relationships/slide" Target="slides/slide72.xml"/><Relationship Id="rId81" Type="http://schemas.openxmlformats.org/officeDocument/2006/relationships/slide" Target="slides/slide75.xml"/><Relationship Id="rId86" Type="http://schemas.openxmlformats.org/officeDocument/2006/relationships/slide" Target="slides/slide80.xml"/><Relationship Id="rId94" Type="http://schemas.openxmlformats.org/officeDocument/2006/relationships/slide" Target="slides/slide88.xml"/><Relationship Id="rId99" Type="http://schemas.openxmlformats.org/officeDocument/2006/relationships/slide" Target="slides/slide93.xml"/><Relationship Id="rId101" Type="http://schemas.openxmlformats.org/officeDocument/2006/relationships/slide" Target="slides/slide9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9" Type="http://schemas.openxmlformats.org/officeDocument/2006/relationships/slide" Target="slides/slide33.xml"/><Relationship Id="rId109" Type="http://schemas.openxmlformats.org/officeDocument/2006/relationships/tableStyles" Target="tableStyles.xml"/><Relationship Id="rId34" Type="http://schemas.openxmlformats.org/officeDocument/2006/relationships/slide" Target="slides/slide28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76" Type="http://schemas.openxmlformats.org/officeDocument/2006/relationships/slide" Target="slides/slide70.xml"/><Relationship Id="rId97" Type="http://schemas.openxmlformats.org/officeDocument/2006/relationships/slide" Target="slides/slide91.xml"/><Relationship Id="rId104" Type="http://schemas.openxmlformats.org/officeDocument/2006/relationships/tags" Target="tags/tag1.xml"/><Relationship Id="rId7" Type="http://schemas.openxmlformats.org/officeDocument/2006/relationships/slide" Target="slides/slide1.xml"/><Relationship Id="rId71" Type="http://schemas.openxmlformats.org/officeDocument/2006/relationships/slide" Target="slides/slide65.xml"/><Relationship Id="rId92" Type="http://schemas.openxmlformats.org/officeDocument/2006/relationships/slide" Target="slides/slide86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19:54.448" idx="18">
    <p:pos x="5441" y="539"/>
    <p:text>Check Field of View/Vision,
Check thesis</p:text>
    <p:extLst>
      <p:ext uri="{C676402C-5697-4E1C-873F-D02D1690AC5C}">
        <p15:threadingInfo xmlns:p15="http://schemas.microsoft.com/office/powerpoint/2012/main" timeZoneBias="0"/>
      </p:ext>
    </p:extLst>
  </p:cm>
  <p:cm authorId="2" dt="2019-02-07T09:36:40.646" idx="33">
    <p:pos x="5441" y="635"/>
    <p:text>Done its ok</p:text>
    <p:extLst>
      <p:ext uri="{C676402C-5697-4E1C-873F-D02D1690AC5C}">
        <p15:threadingInfo xmlns:p15="http://schemas.microsoft.com/office/powerpoint/2012/main" timeZoneBias="-60">
          <p15:parentCm authorId="2" idx="18"/>
        </p15:threadingInfo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3" dt="2019-02-12T14:48:25.778" idx="1">
    <p:pos x="10" y="10"/>
    <p:text>Test change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1:42.808" idx="19">
    <p:pos x="5123" y="3362"/>
    <p:text>Reach set approximation</p:text>
    <p:extLst>
      <p:ext uri="{C676402C-5697-4E1C-873F-D02D1690AC5C}">
        <p15:threadingInfo xmlns:p15="http://schemas.microsoft.com/office/powerpoint/2012/main" timeZoneBias="0"/>
      </p:ext>
    </p:extLst>
  </p:cm>
  <p:cm authorId="2" dt="2019-02-06T09:47:56.874" idx="31">
    <p:pos x="5123" y="3458"/>
    <p:text>Done</p:text>
    <p:extLst>
      <p:ext uri="{C676402C-5697-4E1C-873F-D02D1690AC5C}">
        <p15:threadingInfo xmlns:p15="http://schemas.microsoft.com/office/powerpoint/2012/main" timeZoneBias="-60">
          <p15:parentCm authorId="2" idx="19"/>
        </p15:threadingInfo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3" dt="2019-02-14T19:35:07.279" idx="2">
    <p:pos x="10" y="10"/>
    <p:text>Put a slide about RSA differnt types based on differen trajectory propertie - short one slide</p:text>
    <p:extLst>
      <p:ext uri="{C676402C-5697-4E1C-873F-D02D1690AC5C}">
        <p15:threadingInfo xmlns:p15="http://schemas.microsoft.com/office/powerpoint/2012/main" timeZoneBias="-60"/>
      </p:ext>
    </p:extLst>
  </p:cm>
  <p:cm authorId="3" dt="2019-02-14T19:35:53.134" idx="3">
    <p:pos x="10" y="106"/>
    <p:text>Consider removing the graph stuff</p:text>
    <p:extLst>
      <p:ext uri="{C676402C-5697-4E1C-873F-D02D1690AC5C}">
        <p15:threadingInfo xmlns:p15="http://schemas.microsoft.com/office/powerpoint/2012/main" timeZoneBias="-60">
          <p15:parentCm authorId="3" idx="2"/>
        </p15:threadingInfo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2:18.260" idx="20">
    <p:pos x="4032" y="665"/>
    <p:text>Try to get continious LiDAR scan - example of LiDAR data</p:text>
    <p:extLst>
      <p:ext uri="{C676402C-5697-4E1C-873F-D02D1690AC5C}">
        <p15:threadingInfo xmlns:p15="http://schemas.microsoft.com/office/powerpoint/2012/main" timeZoneBias="0"/>
      </p:ext>
    </p:extLst>
  </p:cm>
  <p:cm authorId="2" dt="2019-02-06T11:46:46.688" idx="32">
    <p:pos x="4032" y="761"/>
    <p:text>DONE</p:text>
    <p:extLst>
      <p:ext uri="{C676402C-5697-4E1C-873F-D02D1690AC5C}">
        <p15:threadingInfo xmlns:p15="http://schemas.microsoft.com/office/powerpoint/2012/main" timeZoneBias="-60">
          <p15:parentCm authorId="2" idx="20"/>
        </p15:threadingInfo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7.xml"/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57D4563-C991-442D-B3F0-C1A43D578CC3}" type="datetimeFigureOut">
              <a:rPr lang="en-US"/>
              <a:pPr>
                <a:defRPr/>
              </a:pPr>
              <a:t>06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sz="700" dirty="0">
                <a:solidFill>
                  <a:srgbClr val="7F7F7F"/>
                </a:solidFill>
                <a:latin typeface="Arial" panose="020B0604020202020204" pitchFamily="34" charset="0"/>
              </a:rPr>
              <a:t>Honeywell Intern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D0CD540-90A1-4DF6-948E-FB2F838FE87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6.xml"/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A278FD8-54E5-4C24-8F1E-334DBC98CFA6}" type="datetimeFigureOut">
              <a:rPr lang="en-US"/>
              <a:pPr>
                <a:defRPr/>
              </a:pPr>
              <a:t>06-Mar-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21188"/>
            <a:ext cx="5619750" cy="418941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/>
              <a:t>Honeywell 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7F80455-CF11-4877-AD7A-70AE5CB739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ood Afternoon, </a:t>
            </a:r>
          </a:p>
          <a:p>
            <a:endParaRPr lang="en-US" dirty="0"/>
          </a:p>
          <a:p>
            <a:r>
              <a:rPr lang="en-US" dirty="0"/>
              <a:t>My name is Alojz Gomola</a:t>
            </a:r>
          </a:p>
          <a:p>
            <a:endParaRPr lang="en-US" dirty="0"/>
          </a:p>
          <a:p>
            <a:r>
              <a:rPr lang="en-US" dirty="0"/>
              <a:t>I am working for Honeywell under Marie </a:t>
            </a:r>
            <a:r>
              <a:rPr lang="en-US" dirty="0" err="1"/>
              <a:t>Curiie</a:t>
            </a:r>
            <a:r>
              <a:rPr lang="en-US" dirty="0"/>
              <a:t> project </a:t>
            </a:r>
            <a:r>
              <a:rPr lang="en-US" dirty="0" err="1"/>
              <a:t>MarineUAS</a:t>
            </a:r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 am here to talk about Obstacle Avoidance Based On Reach Sets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34140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et to the end of charted territory,  at the DECISION POINT</a:t>
            </a:r>
          </a:p>
          <a:p>
            <a:endParaRPr lang="en-US" dirty="0"/>
          </a:p>
          <a:p>
            <a:r>
              <a:rPr lang="en-US" dirty="0"/>
              <a:t>Crossroad has three ways, </a:t>
            </a:r>
          </a:p>
          <a:p>
            <a:endParaRPr lang="en-US" dirty="0"/>
          </a:p>
          <a:p>
            <a:r>
              <a:rPr lang="en-US" dirty="0"/>
              <a:t>We chose one which gets us closest to our GOAL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488577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new patch of the territory has been revealed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30268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Rinse and Repeat,</a:t>
            </a:r>
          </a:p>
          <a:p>
            <a:endParaRPr lang="en-US" dirty="0"/>
          </a:p>
          <a:p>
            <a:r>
              <a:rPr lang="en-US" dirty="0"/>
              <a:t>Same as before we get to Decision Point,</a:t>
            </a:r>
          </a:p>
          <a:p>
            <a:endParaRPr lang="en-US" dirty="0"/>
          </a:p>
          <a:p>
            <a:r>
              <a:rPr lang="en-US" dirty="0"/>
              <a:t>Three ways lies ahead only one leads to Goal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285106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take the right way,</a:t>
            </a:r>
          </a:p>
          <a:p>
            <a:endParaRPr lang="en-US" dirty="0"/>
          </a:p>
          <a:p>
            <a:r>
              <a:rPr lang="en-US" dirty="0"/>
              <a:t>We can see a Goal of our journey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341547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ch it and we are fine, </a:t>
            </a:r>
          </a:p>
          <a:p>
            <a:endParaRPr lang="en-US" dirty="0"/>
          </a:p>
          <a:p>
            <a:r>
              <a:rPr lang="en-US" dirty="0"/>
              <a:t>Evolving world challenge has been passes, </a:t>
            </a:r>
          </a:p>
          <a:p>
            <a:endParaRPr lang="en-US" dirty="0"/>
          </a:p>
          <a:p>
            <a:r>
              <a:rPr lang="en-US" dirty="0"/>
              <a:t>The Path was not as optimal as in case when we had a map, but we did it</a:t>
            </a:r>
          </a:p>
          <a:p>
            <a:endParaRPr lang="en-US" dirty="0"/>
          </a:p>
          <a:p>
            <a:r>
              <a:rPr lang="en-US" dirty="0"/>
              <a:t>Now lets make life harder again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579727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are not alone on streets nor in the Airspace.</a:t>
            </a:r>
          </a:p>
          <a:p>
            <a:endParaRPr lang="en-US" dirty="0"/>
          </a:p>
          <a:p>
            <a:r>
              <a:rPr lang="en-US" dirty="0"/>
              <a:t>There are Adversaries, people and Carriages, whom wants to take your sweet spot on the road.</a:t>
            </a:r>
          </a:p>
          <a:p>
            <a:endParaRPr lang="en-US" dirty="0"/>
          </a:p>
          <a:p>
            <a:r>
              <a:rPr lang="en-US" dirty="0"/>
              <a:t>You can use your cat like reflexes to avoid them, you just need to know:</a:t>
            </a:r>
          </a:p>
          <a:p>
            <a:pPr marL="228600" indent="-228600">
              <a:buAutoNum type="arabicPeriod"/>
            </a:pPr>
            <a:r>
              <a:rPr lang="en-US" dirty="0"/>
              <a:t>Their position and heading velocity</a:t>
            </a:r>
          </a:p>
          <a:p>
            <a:pPr marL="228600" indent="-228600">
              <a:buAutoNum type="arabicPeriod"/>
            </a:pPr>
            <a:r>
              <a:rPr lang="en-US" dirty="0"/>
              <a:t>Your own intentions</a:t>
            </a:r>
          </a:p>
          <a:p>
            <a:pPr marL="228600" indent="-228600">
              <a:buAutoNum type="arabicPeriod"/>
            </a:pPr>
            <a:endParaRPr lang="en-US" dirty="0"/>
          </a:p>
          <a:p>
            <a:pPr marL="0" indent="0">
              <a:buNone/>
            </a:pPr>
            <a:r>
              <a:rPr lang="en-US" dirty="0"/>
              <a:t>Now lets make life even harder,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410747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bought a new map, which is not very precise, but still reliable,</a:t>
            </a:r>
          </a:p>
          <a:p>
            <a:endParaRPr lang="en-US" dirty="0"/>
          </a:p>
          <a:p>
            <a:r>
              <a:rPr lang="en-US" dirty="0"/>
              <a:t>You heard many rumors and much more stuff from officials, </a:t>
            </a:r>
          </a:p>
          <a:p>
            <a:endParaRPr lang="en-US" dirty="0"/>
          </a:p>
          <a:p>
            <a:r>
              <a:rPr lang="en-US" dirty="0"/>
              <a:t>You need to clean your head to make a right choice, what is true what is good,</a:t>
            </a:r>
          </a:p>
          <a:p>
            <a:endParaRPr lang="en-US" dirty="0"/>
          </a:p>
          <a:p>
            <a:r>
              <a:rPr lang="en-US" dirty="0"/>
              <a:t>Do not worry my friend Data Fusion is here to help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47980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pace which is occupied by various groups, </a:t>
            </a:r>
          </a:p>
          <a:p>
            <a:endParaRPr lang="en-US" dirty="0"/>
          </a:p>
          <a:p>
            <a:r>
              <a:rPr lang="en-US" dirty="0"/>
              <a:t>One are kind like Grannies, whom only tell your Grand mother that you get into Fine restaurant</a:t>
            </a:r>
          </a:p>
          <a:p>
            <a:endParaRPr lang="en-US" dirty="0"/>
          </a:p>
          <a:p>
            <a:r>
              <a:rPr lang="en-US" dirty="0"/>
              <a:t>Other are not so kind, like Vigilante Knights which will kill you on the spot (What did you expected from dark ages ?)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037454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see the situation on the map, The occupied territory is marked for each group,</a:t>
            </a:r>
          </a:p>
          <a:p>
            <a:endParaRPr lang="en-US" dirty="0"/>
          </a:p>
          <a:p>
            <a:r>
              <a:rPr lang="en-US" dirty="0"/>
              <a:t>The large detour was taken to avid both of them.</a:t>
            </a:r>
          </a:p>
          <a:p>
            <a:endParaRPr lang="en-US" dirty="0"/>
          </a:p>
          <a:p>
            <a:r>
              <a:rPr lang="en-US" dirty="0"/>
              <a:t>Now every problem in Avoidance topic should be addressed right ?</a:t>
            </a:r>
          </a:p>
          <a:p>
            <a:endParaRPr lang="en-US" dirty="0"/>
          </a:p>
          <a:p>
            <a:r>
              <a:rPr lang="en-US" dirty="0"/>
              <a:t>How about weather ?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03822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ather is bad for our skin, so we try to avoid bad weather,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2712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at was story folks !</a:t>
            </a:r>
          </a:p>
          <a:p>
            <a:endParaRPr lang="en-US" dirty="0"/>
          </a:p>
          <a:p>
            <a:r>
              <a:rPr lang="en-US" dirty="0"/>
              <a:t>Now lets get to the serious talks!</a:t>
            </a:r>
          </a:p>
          <a:p>
            <a:endParaRPr lang="en-US" dirty="0"/>
          </a:p>
          <a:p>
            <a:r>
              <a:rPr lang="en-US" dirty="0"/>
              <a:t>I will introduce terms and process of Obstacle Avoidanc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425480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rk ages weather was very harsh and very localized, </a:t>
            </a:r>
          </a:p>
          <a:p>
            <a:endParaRPr lang="en-US" dirty="0"/>
          </a:p>
          <a:p>
            <a:r>
              <a:rPr lang="en-US" dirty="0"/>
              <a:t>We have </a:t>
            </a:r>
          </a:p>
          <a:p>
            <a:r>
              <a:rPr lang="en-US" dirty="0"/>
              <a:t>	snowstorm on the left</a:t>
            </a:r>
          </a:p>
          <a:p>
            <a:endParaRPr lang="en-US" dirty="0"/>
          </a:p>
          <a:p>
            <a:r>
              <a:rPr lang="en-US" dirty="0"/>
              <a:t>	Heatwave on the right</a:t>
            </a:r>
          </a:p>
          <a:p>
            <a:endParaRPr lang="en-US" dirty="0"/>
          </a:p>
          <a:p>
            <a:r>
              <a:rPr lang="en-US" dirty="0"/>
              <a:t>Do not worry Grannies and Vigilante is still there, so what now …</a:t>
            </a:r>
          </a:p>
          <a:p>
            <a:endParaRPr lang="en-US" dirty="0"/>
          </a:p>
          <a:p>
            <a:r>
              <a:rPr lang="en-US" dirty="0"/>
              <a:t>We need to break some restrictions and avoid harsher conditions …</a:t>
            </a:r>
          </a:p>
          <a:p>
            <a:endParaRPr lang="en-US" dirty="0"/>
          </a:p>
          <a:p>
            <a:r>
              <a:rPr lang="en-US" dirty="0"/>
              <a:t>There is one more thing to address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537263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just need to stick to the rules, </a:t>
            </a:r>
          </a:p>
          <a:p>
            <a:endParaRPr lang="en-US" dirty="0"/>
          </a:p>
          <a:p>
            <a:r>
              <a:rPr lang="en-US" dirty="0"/>
              <a:t>Society Norm, traffic regulations, airspace rules and so on …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88903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are two modes Cooperative and non cooperative, </a:t>
            </a:r>
          </a:p>
          <a:p>
            <a:endParaRPr lang="en-US" dirty="0"/>
          </a:p>
          <a:p>
            <a:r>
              <a:rPr lang="en-US" dirty="0"/>
              <a:t>our solution supports both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594078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us look at the “Magic” which I mentioned Earlier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102740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avigation Loop Provides goal waypoint from mission plan</a:t>
            </a:r>
          </a:p>
          <a:p>
            <a:r>
              <a:rPr lang="en-US" dirty="0"/>
              <a:t>	- taken from other work</a:t>
            </a:r>
          </a:p>
          <a:p>
            <a:r>
              <a:rPr lang="en-US" dirty="0"/>
              <a:t>	- very simple</a:t>
            </a:r>
          </a:p>
          <a:p>
            <a:br>
              <a:rPr lang="en-US" dirty="0"/>
            </a:br>
            <a:r>
              <a:rPr lang="en-US" dirty="0"/>
              <a:t>Data fusion is providing probabilistic assessment of situation from following data sources:</a:t>
            </a:r>
          </a:p>
          <a:p>
            <a:pPr lvl="1"/>
            <a:r>
              <a:rPr lang="en-US" dirty="0"/>
              <a:t>-   ADS-B for intruder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Lidar for static obstacles and adversari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Weather constraint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Control authority directiv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Map of obstacl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Restrictions – Geo fencing and others static </a:t>
            </a:r>
            <a:r>
              <a:rPr lang="en-US" dirty="0" err="1"/>
              <a:t>restritions</a:t>
            </a:r>
            <a:endParaRPr lang="en-US" dirty="0"/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These data sources are basically a static and dynamic constraints for UAS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Situation assessment – own module</a:t>
            </a:r>
          </a:p>
          <a:p>
            <a:pPr marL="0" indent="0">
              <a:buFontTx/>
              <a:buNone/>
            </a:pPr>
            <a:r>
              <a:rPr lang="en-US" dirty="0"/>
              <a:t>	- Outside Events   - ex. new intruder arrival</a:t>
            </a:r>
          </a:p>
          <a:p>
            <a:pPr marL="0" indent="0">
              <a:buFontTx/>
              <a:buNone/>
            </a:pPr>
            <a:r>
              <a:rPr lang="en-US" dirty="0"/>
              <a:t>	- Internal Triggers –  ex. reach of decision point</a:t>
            </a:r>
          </a:p>
          <a:p>
            <a:pPr marL="0" indent="0">
              <a:buFontTx/>
              <a:buNone/>
            </a:pPr>
            <a:r>
              <a:rPr lang="en-US" dirty="0"/>
              <a:t>	- Valid Directives – ex. Geofencing around Honeywell CZ27 building</a:t>
            </a:r>
          </a:p>
          <a:p>
            <a:pPr marL="0" indent="0">
              <a:buFontTx/>
              <a:buNone/>
            </a:pPr>
            <a:r>
              <a:rPr lang="en-US" dirty="0"/>
              <a:t>	- Probabilistic situation changes are evaluated – ex increase of danger of bird collision …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It triggers a Avoidance Run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Avoidance Run (Own work) does what I described just not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000741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Vehicle control</a:t>
            </a:r>
            <a:r>
              <a:rPr lang="en-US" baseline="0" dirty="0"/>
              <a:t> can be standard closed loop control</a:t>
            </a:r>
          </a:p>
          <a:p>
            <a:r>
              <a:rPr lang="en-US" baseline="0" dirty="0"/>
              <a:t>This has been implemented as prototype in Matla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1199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ovement automaton is interface</a:t>
            </a:r>
            <a:r>
              <a:rPr lang="en-US" baseline="0" dirty="0"/>
              <a:t> acting between conventional control principles and discrete command chain</a:t>
            </a:r>
          </a:p>
          <a:p>
            <a:endParaRPr lang="en-US" baseline="0" dirty="0"/>
          </a:p>
          <a:p>
            <a:r>
              <a:rPr lang="en-US" baseline="0" dirty="0" err="1"/>
              <a:t>eg</a:t>
            </a:r>
            <a:r>
              <a:rPr lang="en-US" baseline="0" dirty="0"/>
              <a:t>. Move left 2s, move </a:t>
            </a:r>
            <a:r>
              <a:rPr lang="en-US" baseline="0" dirty="0" err="1"/>
              <a:t>strainght</a:t>
            </a:r>
            <a:r>
              <a:rPr lang="en-US" baseline="0" dirty="0"/>
              <a:t> 2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201574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reach set</a:t>
            </a:r>
            <a:r>
              <a:rPr lang="en-US" baseline="0" dirty="0"/>
              <a:t> using my method (red) in Field of vision (aquamarine)</a:t>
            </a:r>
          </a:p>
          <a:p>
            <a:r>
              <a:rPr lang="en-US" baseline="0" dirty="0"/>
              <a:t>There has been implementation of prototype in Matlab (Deterministic version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191570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reach set is main point of our work, it represents where vehicle can get, </a:t>
            </a:r>
          </a:p>
          <a:p>
            <a:endParaRPr lang="en-US" dirty="0"/>
          </a:p>
          <a:p>
            <a:r>
              <a:rPr lang="en-US" dirty="0"/>
              <a:t>we experimented with GRAPH and TRAJECTORY SET </a:t>
            </a:r>
            <a:r>
              <a:rPr lang="en-US" dirty="0" err="1"/>
              <a:t>representaitons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249313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simple mission with 4 waypoints,</a:t>
            </a:r>
            <a:r>
              <a:rPr lang="en-US" baseline="0" dirty="0"/>
              <a:t> implemented as Matlab simul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542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ur main focus is to keep UAS safe while doing its business ,</a:t>
            </a:r>
          </a:p>
          <a:p>
            <a:endParaRPr lang="en-US" dirty="0"/>
          </a:p>
          <a:p>
            <a:r>
              <a:rPr lang="en-US" dirty="0"/>
              <a:t>There are Intruder planes which tell us where we are and tries to not harm UAS</a:t>
            </a:r>
          </a:p>
          <a:p>
            <a:endParaRPr lang="en-US" dirty="0"/>
          </a:p>
          <a:p>
            <a:r>
              <a:rPr lang="en-US" dirty="0"/>
              <a:t>Next are not so kind Adversaries which do not care about UAS nor Active avoidance</a:t>
            </a:r>
          </a:p>
          <a:p>
            <a:endParaRPr lang="en-US" dirty="0"/>
          </a:p>
          <a:p>
            <a:r>
              <a:rPr lang="en-US" dirty="0"/>
              <a:t>Then there is the greatest enemy of UAS, everlasting ground and its related obstacles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678958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</a:t>
            </a:r>
            <a:r>
              <a:rPr lang="en-US" baseline="0" dirty="0"/>
              <a:t> is an example of ADS-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025479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</a:t>
            </a:r>
            <a:r>
              <a:rPr lang="en-US" baseline="0" dirty="0"/>
              <a:t> the picture you can see example of Flash Lidar scanned area over trajector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299715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 is</a:t>
            </a:r>
            <a:r>
              <a:rPr lang="en-US" baseline="0" dirty="0"/>
              <a:t> example of cuboid coatings (dark blue) with virtual convex coating (magenta, cyan, yellow, red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630751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interesting process of Avoidance Run consist from following step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48784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imilar to Air Traffic Management there is UAS </a:t>
            </a:r>
            <a:r>
              <a:rPr lang="en-US" dirty="0" err="1"/>
              <a:t>Trafic</a:t>
            </a:r>
            <a:r>
              <a:rPr lang="en-US" dirty="0"/>
              <a:t> Management</a:t>
            </a:r>
          </a:p>
          <a:p>
            <a:endParaRPr lang="en-US" dirty="0"/>
          </a:p>
          <a:p>
            <a:r>
              <a:rPr lang="en-US" dirty="0"/>
              <a:t>Let say an authority which manages own portion of airspace.</a:t>
            </a:r>
          </a:p>
          <a:p>
            <a:endParaRPr lang="en-US" dirty="0"/>
          </a:p>
          <a:p>
            <a:r>
              <a:rPr lang="en-US" dirty="0"/>
              <a:t>Each UAS have Mission control module which is managing the Navigation </a:t>
            </a:r>
          </a:p>
          <a:p>
            <a:endParaRPr lang="en-US" dirty="0"/>
          </a:p>
          <a:p>
            <a:r>
              <a:rPr lang="en-US" dirty="0"/>
              <a:t>Mission Control Module is periodically sending Position notification To UAS Traffic Management</a:t>
            </a:r>
          </a:p>
          <a:p>
            <a:endParaRPr lang="en-US" dirty="0"/>
          </a:p>
          <a:p>
            <a:r>
              <a:rPr lang="en-US" dirty="0"/>
              <a:t>UAS traffic management is monitoring traffic and detecting collision situations and creating Collision Cases,</a:t>
            </a:r>
          </a:p>
          <a:p>
            <a:endParaRPr lang="en-US" dirty="0"/>
          </a:p>
          <a:p>
            <a:r>
              <a:rPr lang="en-US" dirty="0"/>
              <a:t>Collision Case is focused part of UTM control to prevent collision.</a:t>
            </a:r>
          </a:p>
          <a:p>
            <a:endParaRPr lang="en-US" dirty="0"/>
          </a:p>
          <a:p>
            <a:r>
              <a:rPr lang="en-US" dirty="0"/>
              <a:t>Each UAS will receive Resolution advisory to avoid dangerous areas or to change courses,</a:t>
            </a:r>
          </a:p>
          <a:p>
            <a:endParaRPr lang="en-US" dirty="0"/>
          </a:p>
          <a:p>
            <a:r>
              <a:rPr lang="en-US" dirty="0"/>
              <a:t>UTM then monitors the behavior of  dangerous UAS and changes traffic accordingly to it</a:t>
            </a:r>
          </a:p>
          <a:p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(Show stuff meanwhile talking)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503595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n the mission control level we have implemented Rule Engine</a:t>
            </a:r>
          </a:p>
          <a:p>
            <a:endParaRPr lang="en-US" dirty="0"/>
          </a:p>
          <a:p>
            <a:r>
              <a:rPr lang="en-US" dirty="0"/>
              <a:t>Rule engine is module which oversees process at critical Decision points,</a:t>
            </a:r>
          </a:p>
          <a:p>
            <a:endParaRPr lang="en-US" dirty="0"/>
          </a:p>
          <a:p>
            <a:r>
              <a:rPr lang="en-US" dirty="0"/>
              <a:t>When condition to alter a process are met Rule engine invokes a Rule with a Context.</a:t>
            </a:r>
          </a:p>
          <a:p>
            <a:endParaRPr lang="en-US" dirty="0"/>
          </a:p>
          <a:p>
            <a:r>
              <a:rPr lang="en-US" dirty="0"/>
              <a:t>In the picture there is a example of Speed check,</a:t>
            </a:r>
          </a:p>
          <a:p>
            <a:endParaRPr lang="en-US" dirty="0"/>
          </a:p>
          <a:p>
            <a:r>
              <a:rPr lang="en-US" dirty="0"/>
              <a:t>In Navigation module at velocity recalculation step the rule is invoked, </a:t>
            </a:r>
          </a:p>
          <a:p>
            <a:endParaRPr lang="en-US" dirty="0"/>
          </a:p>
          <a:p>
            <a:r>
              <a:rPr lang="en-US" dirty="0"/>
              <a:t>We observed an intruder which is very slow and we are going to take it down,</a:t>
            </a:r>
          </a:p>
          <a:p>
            <a:endParaRPr lang="en-US" dirty="0"/>
          </a:p>
          <a:p>
            <a:r>
              <a:rPr lang="en-US" dirty="0"/>
              <a:t>We check intruder velocity in rule Condition part </a:t>
            </a:r>
          </a:p>
          <a:p>
            <a:endParaRPr lang="en-US" dirty="0"/>
          </a:p>
          <a:p>
            <a:r>
              <a:rPr lang="en-US" dirty="0"/>
              <a:t>Then we take action to Slow down</a:t>
            </a:r>
          </a:p>
          <a:p>
            <a:endParaRPr lang="en-US" dirty="0"/>
          </a:p>
          <a:p>
            <a:r>
              <a:rPr lang="en-US" dirty="0"/>
              <a:t>(Show stuff meanwhile talking)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1459531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framework have matured beyond that basic functionality, </a:t>
            </a:r>
          </a:p>
          <a:p>
            <a:endParaRPr lang="en-US" dirty="0"/>
          </a:p>
          <a:p>
            <a:r>
              <a:rPr lang="en-US" dirty="0"/>
              <a:t>Now I will show some advanced examp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1976964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framework have matured beyond that basic functionality, </a:t>
            </a:r>
          </a:p>
          <a:p>
            <a:endParaRPr lang="en-US" dirty="0"/>
          </a:p>
          <a:p>
            <a:r>
              <a:rPr lang="en-US" dirty="0"/>
              <a:t>Now I will show some advanced examp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9382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blue plane is flying in Cyan city, </a:t>
            </a:r>
          </a:p>
          <a:p>
            <a:endParaRPr lang="en-US" dirty="0"/>
          </a:p>
          <a:p>
            <a:r>
              <a:rPr lang="en-US" dirty="0"/>
              <a:t>Trying to reach waypoint marked as green square,</a:t>
            </a:r>
          </a:p>
          <a:p>
            <a:endParaRPr lang="en-US" dirty="0"/>
          </a:p>
          <a:p>
            <a:r>
              <a:rPr lang="en-US" dirty="0"/>
              <a:t>The red line is planned trajectory which is changing every decision frame,</a:t>
            </a:r>
          </a:p>
          <a:p>
            <a:endParaRPr lang="en-US" dirty="0"/>
          </a:p>
          <a:p>
            <a:r>
              <a:rPr lang="en-US" dirty="0"/>
              <a:t>As you can see navigation can solve heavily constrained problem with eas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9487749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ll that was for static obstacles, what about moving ones much bigger than our little plane,</a:t>
            </a:r>
          </a:p>
          <a:p>
            <a:endParaRPr lang="en-US" dirty="0"/>
          </a:p>
          <a:p>
            <a:r>
              <a:rPr lang="en-US" dirty="0"/>
              <a:t>The blue plane is trying to avoid a storm</a:t>
            </a:r>
          </a:p>
          <a:p>
            <a:endParaRPr lang="en-US" dirty="0"/>
          </a:p>
          <a:p>
            <a:r>
              <a:rPr lang="en-US" dirty="0"/>
              <a:t>Framework can also comprehend moving obstacles and constraint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3528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UAS is flying some mission given by set of navigation waypoints </a:t>
            </a:r>
          </a:p>
          <a:p>
            <a:endParaRPr lang="en-US" dirty="0"/>
          </a:p>
          <a:p>
            <a:r>
              <a:rPr lang="en-US" dirty="0"/>
              <a:t>Obstacle enters into Field of Vision, </a:t>
            </a:r>
          </a:p>
          <a:p>
            <a:endParaRPr lang="en-US" dirty="0"/>
          </a:p>
          <a:p>
            <a:r>
              <a:rPr lang="en-US" dirty="0"/>
              <a:t>Our algorithm for  “Reactive” obstacle is triggered.</a:t>
            </a:r>
          </a:p>
          <a:p>
            <a:endParaRPr lang="en-US" dirty="0"/>
          </a:p>
          <a:p>
            <a:r>
              <a:rPr lang="en-US" dirty="0"/>
              <a:t>UAS will avoid the danger and safely finishes the mission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5141620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ts talk about Rules of the air</a:t>
            </a:r>
          </a:p>
          <a:p>
            <a:endParaRPr lang="en-US" dirty="0"/>
          </a:p>
          <a:p>
            <a:r>
              <a:rPr lang="en-US" dirty="0"/>
              <a:t>Imagine two UAS equipped with our system listening notifications from our UTM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7895217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nverging is similar to  T section avoidance </a:t>
            </a:r>
          </a:p>
          <a:p>
            <a:endParaRPr lang="en-US" dirty="0"/>
          </a:p>
          <a:p>
            <a:r>
              <a:rPr lang="en-US" dirty="0"/>
              <a:t>The red plane has right of the way,  </a:t>
            </a:r>
          </a:p>
          <a:p>
            <a:endParaRPr lang="en-US" dirty="0"/>
          </a:p>
          <a:p>
            <a:r>
              <a:rPr lang="en-US" dirty="0"/>
              <a:t>the blue one must avoid</a:t>
            </a:r>
          </a:p>
          <a:p>
            <a:endParaRPr lang="en-US" dirty="0"/>
          </a:p>
          <a:p>
            <a:r>
              <a:rPr lang="en-US" dirty="0"/>
              <a:t>Blue circle is expected collision poin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445929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d what is on slid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499644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d what is on slid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2340473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example implemented in our framework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9411434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have Head On situation</a:t>
            </a:r>
          </a:p>
          <a:p>
            <a:endParaRPr lang="en-US" dirty="0"/>
          </a:p>
          <a:p>
            <a:r>
              <a:rPr lang="en-US" dirty="0"/>
              <a:t>Its like virtual roundabout, none of the UAS has right of the way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4004094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fly nicely around i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9598794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of implementation in our framework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7754457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take maneuver very simple,</a:t>
            </a:r>
          </a:p>
          <a:p>
            <a:endParaRPr lang="en-US" dirty="0"/>
          </a:p>
          <a:p>
            <a:r>
              <a:rPr lang="en-US" dirty="0"/>
              <a:t>There is slower red UAS</a:t>
            </a:r>
          </a:p>
          <a:p>
            <a:endParaRPr lang="en-US" dirty="0"/>
          </a:p>
          <a:p>
            <a:r>
              <a:rPr lang="en-US" dirty="0"/>
              <a:t>The blue is very fast and in hurry, </a:t>
            </a:r>
          </a:p>
          <a:p>
            <a:endParaRPr lang="en-US" dirty="0"/>
          </a:p>
          <a:p>
            <a:r>
              <a:rPr lang="en-US" dirty="0"/>
              <a:t>Solution: UTM will calculate red Divergence and Green Convergence waypoint to </a:t>
            </a:r>
          </a:p>
          <a:p>
            <a:endParaRPr lang="en-US" dirty="0"/>
          </a:p>
          <a:p>
            <a:r>
              <a:rPr lang="en-US" dirty="0"/>
              <a:t>enable safe overtake from right</a:t>
            </a:r>
          </a:p>
          <a:p>
            <a:endParaRPr lang="en-US" dirty="0"/>
          </a:p>
          <a:p>
            <a:r>
              <a:rPr lang="en-US" dirty="0"/>
              <a:t>The red UAS has the right of the way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5658256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take is over and its possible if and only if there is no officially detected hazard for it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88934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 will tell you nice introduction story for Obstacle avoidanc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7831594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of overtak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0064606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speed difference changes the shape of overtake trajectory,</a:t>
            </a:r>
          </a:p>
          <a:p>
            <a:endParaRPr lang="en-US" dirty="0"/>
          </a:p>
          <a:p>
            <a:r>
              <a:rPr lang="en-US" dirty="0"/>
              <a:t>The turn angle and shape is getting more sharp</a:t>
            </a:r>
          </a:p>
          <a:p>
            <a:endParaRPr lang="en-US" dirty="0"/>
          </a:p>
          <a:p>
            <a:r>
              <a:rPr lang="en-US" dirty="0"/>
              <a:t>Blue trajectory shows overtake with  2x speed difference</a:t>
            </a:r>
          </a:p>
          <a:p>
            <a:endParaRPr lang="en-US" dirty="0"/>
          </a:p>
          <a:p>
            <a:r>
              <a:rPr lang="en-US" dirty="0"/>
              <a:t>Green trajectory shows  overtake with 3x speed difference</a:t>
            </a:r>
          </a:p>
          <a:p>
            <a:endParaRPr lang="en-US" dirty="0"/>
          </a:p>
          <a:p>
            <a:r>
              <a:rPr lang="en-US" dirty="0"/>
              <a:t>Black trajectory shows overtake with 6x speed difference. 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5876241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are two modes Cooperative and non cooperative, </a:t>
            </a:r>
          </a:p>
          <a:p>
            <a:endParaRPr lang="en-US" dirty="0"/>
          </a:p>
          <a:p>
            <a:r>
              <a:rPr lang="en-US" dirty="0"/>
              <a:t>our solution supports both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221868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rst I will start with Cooperative example, </a:t>
            </a:r>
          </a:p>
          <a:p>
            <a:endParaRPr lang="en-US" dirty="0"/>
          </a:p>
          <a:p>
            <a:r>
              <a:rPr lang="en-US" dirty="0"/>
              <a:t>Each UAS is sending the position notification to UAS </a:t>
            </a:r>
            <a:r>
              <a:rPr lang="en-US" dirty="0" err="1"/>
              <a:t>Trafic</a:t>
            </a:r>
            <a:r>
              <a:rPr lang="en-US" dirty="0"/>
              <a:t> Management</a:t>
            </a:r>
          </a:p>
          <a:p>
            <a:endParaRPr lang="en-US" dirty="0"/>
          </a:p>
          <a:p>
            <a:r>
              <a:rPr lang="en-US" dirty="0"/>
              <a:t>UAS </a:t>
            </a:r>
            <a:r>
              <a:rPr lang="en-US" dirty="0" err="1"/>
              <a:t>Trafic</a:t>
            </a:r>
            <a:r>
              <a:rPr lang="en-US" dirty="0"/>
              <a:t> management:</a:t>
            </a:r>
          </a:p>
          <a:p>
            <a:pPr marL="228600" indent="-228600">
              <a:buAutoNum type="arabicPeriod"/>
            </a:pPr>
            <a:r>
              <a:rPr lang="en-US" dirty="0"/>
              <a:t>Calculates Collision Cases,</a:t>
            </a:r>
          </a:p>
          <a:p>
            <a:pPr marL="228600" indent="-228600">
              <a:buAutoNum type="arabicPeriod"/>
            </a:pPr>
            <a:r>
              <a:rPr lang="en-US" dirty="0"/>
              <a:t>Creates solution</a:t>
            </a:r>
          </a:p>
          <a:p>
            <a:pPr marL="228600" indent="-228600">
              <a:buAutoNum type="arabicPeriod"/>
            </a:pPr>
            <a:r>
              <a:rPr lang="en-US" dirty="0"/>
              <a:t>Send Directives and Monitor directiv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3734116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how its done</a:t>
            </a:r>
          </a:p>
          <a:p>
            <a:endParaRPr lang="en-US" dirty="0"/>
          </a:p>
          <a:p>
            <a:r>
              <a:rPr lang="en-US" dirty="0"/>
              <a:t>You can see UAS nicely flying around in polite mann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8018500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ts get to non cooperative mode,</a:t>
            </a:r>
          </a:p>
          <a:p>
            <a:endParaRPr lang="en-US" dirty="0"/>
          </a:p>
          <a:p>
            <a:r>
              <a:rPr lang="en-US" dirty="0"/>
              <a:t>Each UAS is detecting own collisions, alerting others trough ADS-B</a:t>
            </a:r>
          </a:p>
          <a:p>
            <a:endParaRPr lang="en-US" dirty="0"/>
          </a:p>
          <a:p>
            <a:r>
              <a:rPr lang="en-US" dirty="0"/>
              <a:t>Each UAS is using our statistical engine to calculate own avoidance trajectory </a:t>
            </a:r>
          </a:p>
          <a:p>
            <a:endParaRPr lang="en-US" dirty="0"/>
          </a:p>
          <a:p>
            <a:r>
              <a:rPr lang="en-US" dirty="0"/>
              <a:t>which gave them best possible odds of survival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8794430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imulation,</a:t>
            </a:r>
          </a:p>
          <a:p>
            <a:endParaRPr lang="en-US" dirty="0"/>
          </a:p>
          <a:p>
            <a:r>
              <a:rPr lang="en-US" dirty="0"/>
              <a:t>Our advanced statistical model enables to use </a:t>
            </a:r>
            <a:r>
              <a:rPr lang="en-US" dirty="0" err="1"/>
              <a:t>preffered</a:t>
            </a:r>
            <a:r>
              <a:rPr lang="en-US" dirty="0"/>
              <a:t> separation modes, which makes them go really wild</a:t>
            </a:r>
          </a:p>
          <a:p>
            <a:endParaRPr lang="en-US" dirty="0"/>
          </a:p>
          <a:p>
            <a:r>
              <a:rPr lang="en-US" dirty="0"/>
              <a:t>At the one moment you can see that they nearly collided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1269590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ut that is not true</a:t>
            </a:r>
          </a:p>
          <a:p>
            <a:endParaRPr lang="en-US" dirty="0"/>
          </a:p>
          <a:p>
            <a:r>
              <a:rPr lang="en-US" dirty="0"/>
              <a:t>The mutual distance represented by blue line</a:t>
            </a:r>
          </a:p>
          <a:p>
            <a:endParaRPr lang="en-US" dirty="0"/>
          </a:p>
          <a:p>
            <a:r>
              <a:rPr lang="en-US" dirty="0"/>
              <a:t>Never went under collision margin represented by red lin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9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37044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gentleman want to get into the fine restauran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784520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ituation, Gentleman is at Home</a:t>
            </a:r>
          </a:p>
          <a:p>
            <a:r>
              <a:rPr lang="en-US" dirty="0"/>
              <a:t>Restaurant is near city cent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36704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ath planning problem is introduced,</a:t>
            </a:r>
          </a:p>
          <a:p>
            <a:endParaRPr lang="en-US" dirty="0"/>
          </a:p>
          <a:p>
            <a:r>
              <a:rPr lang="en-US" dirty="0"/>
              <a:t>Plan and Execute a Path to Restaurant, </a:t>
            </a:r>
          </a:p>
          <a:p>
            <a:endParaRPr lang="en-US" dirty="0"/>
          </a:p>
          <a:p>
            <a:r>
              <a:rPr lang="en-US" dirty="0"/>
              <a:t>Really simple, nobody is on streets, I have precise and correct information and map,</a:t>
            </a:r>
          </a:p>
          <a:p>
            <a:endParaRPr lang="en-US" dirty="0"/>
          </a:p>
          <a:p>
            <a:r>
              <a:rPr lang="en-US" dirty="0"/>
              <a:t>Now lets make a life hard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369706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challenge (problem), Map forgotten, </a:t>
            </a:r>
          </a:p>
          <a:p>
            <a:endParaRPr lang="en-US" dirty="0"/>
          </a:p>
          <a:p>
            <a:r>
              <a:rPr lang="en-US" dirty="0"/>
              <a:t>Possibilities to see all of situation are limited.</a:t>
            </a:r>
          </a:p>
          <a:p>
            <a:endParaRPr lang="en-US" dirty="0"/>
          </a:p>
          <a:p>
            <a:r>
              <a:rPr lang="en-US" dirty="0"/>
              <a:t>We still know where is GOAL of our Journey.</a:t>
            </a:r>
          </a:p>
          <a:p>
            <a:endParaRPr lang="en-US" dirty="0"/>
          </a:p>
          <a:p>
            <a:r>
              <a:rPr lang="en-US" dirty="0"/>
              <a:t>There Is a Evolving World Challenge,</a:t>
            </a:r>
          </a:p>
          <a:p>
            <a:endParaRPr lang="en-US" dirty="0"/>
          </a:p>
          <a:p>
            <a:r>
              <a:rPr lang="en-US" dirty="0"/>
              <a:t>Need to make decisions with limited sensory reading is inevitable 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74245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6009007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221095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Subtitle if Neede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220145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Da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6226" y="5959797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er Name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8" y="5928398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8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129894" cy="49861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70C130-3947-5746-9F16-5E7E49C44C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4768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1603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8229600" y="6350000"/>
            <a:ext cx="685800" cy="49181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8E27D68-75D7-1046-B88F-55C44A5ED9A6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2482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ound Single Corner Rectangle 6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3718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 bwMode="auto">
          <a:xfrm flipH="1">
            <a:off x="444500" y="3698875"/>
            <a:ext cx="8215313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69462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432000" y="331304"/>
            <a:ext cx="8346678" cy="52511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5662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75DB8A-71E0-F944-83F6-A83A2D996DB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5316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6324600"/>
            <a:ext cx="9144000" cy="533400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9" name="Round Single Corner Rectangle 8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177800" y="618172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Straight Connector 12"/>
          <p:cNvCxnSpPr/>
          <p:nvPr userDrawn="1"/>
        </p:nvCxnSpPr>
        <p:spPr bwMode="auto">
          <a:xfrm flipH="1">
            <a:off x="444500" y="3579813"/>
            <a:ext cx="8334375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2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44119" y="371062"/>
            <a:ext cx="8290241" cy="48535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buFont typeface="Arial" panose="020B0604020202020204" pitchFamily="34" charset="0"/>
              <a:buChar char="-"/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44119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4702775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8D2DB58E-2992-2040-8E77-3A8E9F68BA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9455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1F74E8-2156-B64F-A723-2FC713503C5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423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 W/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5 by Honeywell International Inc. All rights reserved. 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6929438" y="6350000"/>
            <a:ext cx="1990725" cy="50800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998C0A-3FDF-A343-89AA-469E5F1A16B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5672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8359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002359" cy="49861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14350" y="1074738"/>
            <a:ext cx="8002588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4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814D0C-58DA-754D-96DF-668AE432F1B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5772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60338" y="6364288"/>
            <a:ext cx="8983662" cy="493712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514578" y="344558"/>
            <a:ext cx="8123010" cy="51186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514350" y="1074738"/>
            <a:ext cx="8002588" cy="5059047"/>
          </a:xfrm>
          <a:prstGeom prst="rect">
            <a:avLst/>
          </a:prstGeom>
        </p:spPr>
        <p:txBody>
          <a:bodyPr>
            <a:normAutofit/>
          </a:bodyPr>
          <a:lstStyle>
            <a:lvl2pPr marL="457200" indent="-169863">
              <a:defRPr/>
            </a:lvl2pPr>
            <a:lvl3pPr marL="804863" indent="-177800">
              <a:defRPr/>
            </a:lvl3pPr>
            <a:lvl4pPr marL="1201738" indent="-168275">
              <a:buClr>
                <a:schemeClr val="tx1">
                  <a:lumMod val="50000"/>
                  <a:lumOff val="50000"/>
                </a:schemeClr>
              </a:buClr>
              <a:buFontTx/>
              <a:buChar char="-"/>
              <a:defRPr sz="1400"/>
            </a:lvl4pPr>
            <a:lvl5pPr marL="1719263" indent="-177800">
              <a:buClr>
                <a:schemeClr val="tx1">
                  <a:lumMod val="50000"/>
                  <a:lumOff val="50000"/>
                </a:schemeClr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6A011D3D-470C-6841-80D1-ED00CD69452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432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jpe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tags" Target="../tags/tag2.xml"/><Relationship Id="rId9" Type="http://schemas.openxmlformats.org/officeDocument/2006/relationships/image" Target="../media/image4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Relationship Id="rId14" Type="http://schemas.openxmlformats.org/officeDocument/2006/relationships/image" Target="../media/image11.jp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image" Target="../media/image11.jpg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image" Target="file:///\\localhost\Volumes\DMS-Server\Clients\Honeywell%20PPT%20\Honeywell%20-%20Freestanding%20Logos\Honeywell%20-%20Freestanding%20Logo%20RGB.png" TargetMode="Externa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image" Target="../media/image13.png"/><Relationship Id="rId5" Type="http://schemas.openxmlformats.org/officeDocument/2006/relationships/slideLayout" Target="../slideLayouts/slideLayout12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5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0755" y="6042317"/>
            <a:ext cx="1504536" cy="434925"/>
          </a:xfrm>
          <a:prstGeom prst="rect">
            <a:avLst/>
          </a:prstGeom>
        </p:spPr>
      </p:pic>
      <p:pic>
        <p:nvPicPr>
          <p:cNvPr id="15" name="Picture 5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01" t="8743" r="4581"/>
          <a:stretch>
            <a:fillRect/>
          </a:stretch>
        </p:blipFill>
        <p:spPr bwMode="auto">
          <a:xfrm>
            <a:off x="1" y="-28514"/>
            <a:ext cx="3481388" cy="5684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8264" y="1973265"/>
            <a:ext cx="2733675" cy="3665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3464" y="-7938"/>
            <a:ext cx="5570537" cy="1905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3463" y="2021816"/>
            <a:ext cx="2749627" cy="1902822"/>
          </a:xfrm>
          <a:prstGeom prst="rect">
            <a:avLst/>
          </a:prstGeom>
        </p:spPr>
      </p:pic>
      <p:pic>
        <p:nvPicPr>
          <p:cNvPr id="26" name="Picture 25" descr="494348113_low.jpg"/>
          <p:cNvPicPr>
            <a:picLocks noChangeAspect="1"/>
          </p:cNvPicPr>
          <p:nvPr userDrawn="1"/>
        </p:nvPicPr>
        <p:blipFill>
          <a:blip r:embed="rId13" cstate="screen"/>
          <a:srcRect/>
          <a:stretch>
            <a:fillRect/>
          </a:stretch>
        </p:blipFill>
        <p:spPr>
          <a:xfrm>
            <a:off x="3573464" y="4052744"/>
            <a:ext cx="2751136" cy="1587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8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2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9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 Single Corner Rectangle 1"/>
          <p:cNvSpPr>
            <a:spLocks noChangeAspect="1"/>
          </p:cNvSpPr>
          <p:nvPr/>
        </p:nvSpPr>
        <p:spPr>
          <a:xfrm rot="5400000">
            <a:off x="7772400" y="0"/>
            <a:ext cx="1371600" cy="1371542"/>
          </a:xfrm>
          <a:custGeom>
            <a:avLst/>
            <a:gdLst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1371600 w 1371600"/>
              <a:gd name="connsiteY3" fmla="*/ 1532236 h 1532236"/>
              <a:gd name="connsiteX4" fmla="*/ 0 w 1371600"/>
              <a:gd name="connsiteY4" fmla="*/ 1532236 h 1532236"/>
              <a:gd name="connsiteX5" fmla="*/ 0 w 1371600"/>
              <a:gd name="connsiteY5" fmla="*/ 0 h 1532236"/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0 w 1371600"/>
              <a:gd name="connsiteY3" fmla="*/ 1532236 h 1532236"/>
              <a:gd name="connsiteX4" fmla="*/ 0 w 1371600"/>
              <a:gd name="connsiteY4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8 h 1532244"/>
              <a:gd name="connsiteX1" fmla="*/ 1142995 w 1142995"/>
              <a:gd name="connsiteY1" fmla="*/ 8 h 1532244"/>
              <a:gd name="connsiteX2" fmla="*/ 0 w 1142995"/>
              <a:gd name="connsiteY2" fmla="*/ 1532244 h 1532244"/>
              <a:gd name="connsiteX3" fmla="*/ 0 w 1142995"/>
              <a:gd name="connsiteY3" fmla="*/ 8 h 1532244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4012 w 1147007"/>
              <a:gd name="connsiteY0" fmla="*/ 9 h 1532245"/>
              <a:gd name="connsiteX1" fmla="*/ 1147007 w 1147007"/>
              <a:gd name="connsiteY1" fmla="*/ 9 h 1532245"/>
              <a:gd name="connsiteX2" fmla="*/ 4012 w 1147007"/>
              <a:gd name="connsiteY2" fmla="*/ 1532245 h 1532245"/>
              <a:gd name="connsiteX3" fmla="*/ 4012 w 1147007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76 h 1532312"/>
              <a:gd name="connsiteX1" fmla="*/ 1142995 w 1142995"/>
              <a:gd name="connsiteY1" fmla="*/ 76 h 1532312"/>
              <a:gd name="connsiteX2" fmla="*/ 0 w 1142995"/>
              <a:gd name="connsiteY2" fmla="*/ 1532312 h 1532312"/>
              <a:gd name="connsiteX3" fmla="*/ 0 w 1142995"/>
              <a:gd name="connsiteY3" fmla="*/ 76 h 1532312"/>
              <a:gd name="connsiteX0" fmla="*/ 0 w 1142995"/>
              <a:gd name="connsiteY0" fmla="*/ 83 h 1532319"/>
              <a:gd name="connsiteX1" fmla="*/ 1142995 w 1142995"/>
              <a:gd name="connsiteY1" fmla="*/ 83 h 1532319"/>
              <a:gd name="connsiteX2" fmla="*/ 0 w 1142995"/>
              <a:gd name="connsiteY2" fmla="*/ 1532319 h 1532319"/>
              <a:gd name="connsiteX3" fmla="*/ 0 w 1142995"/>
              <a:gd name="connsiteY3" fmla="*/ 83 h 1532319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2995" h="1532236">
                <a:moveTo>
                  <a:pt x="0" y="0"/>
                </a:moveTo>
                <a:lnTo>
                  <a:pt x="1142995" y="0"/>
                </a:lnTo>
                <a:cubicBezTo>
                  <a:pt x="511969" y="21249"/>
                  <a:pt x="3930" y="739945"/>
                  <a:pt x="0" y="1532236"/>
                </a:cubicBezTo>
                <a:cubicBezTo>
                  <a:pt x="4519" y="403311"/>
                  <a:pt x="0" y="510745"/>
                  <a:pt x="0" y="0"/>
                </a:cubicBezTo>
                <a:close/>
              </a:path>
            </a:pathLst>
          </a:custGeom>
          <a:solidFill>
            <a:schemeClr val="accent3"/>
          </a:solidFill>
          <a:ln w="9525" cmpd="sng">
            <a:noFill/>
          </a:ln>
          <a:effectLst>
            <a:innerShdw blurRad="127000" dist="25400" dir="2700000">
              <a:schemeClr val="accent3">
                <a:lumMod val="50000"/>
                <a:alpha val="40000"/>
              </a:scheme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3075" name="Title Placeholder 1"/>
          <p:cNvSpPr>
            <a:spLocks noGrp="1"/>
          </p:cNvSpPr>
          <p:nvPr>
            <p:ph type="title"/>
          </p:nvPr>
        </p:nvSpPr>
        <p:spPr bwMode="auto">
          <a:xfrm>
            <a:off x="534988" y="357188"/>
            <a:ext cx="810260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076" name="Rectangle 23"/>
          <p:cNvSpPr>
            <a:spLocks noChangeArrowheads="1"/>
          </p:cNvSpPr>
          <p:nvPr/>
        </p:nvSpPr>
        <p:spPr bwMode="auto">
          <a:xfrm>
            <a:off x="-71774" y="6505789"/>
            <a:ext cx="7032694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accent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4425" y="-28575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58E27D68-75D7-1046-B88F-55C44A5ED9A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3078" name="Picture 10" descr="\\localhost\Volumes\DMS-Server\Clients\Honeywell PPT \Honeywell - Freestanding Logos\Honeywell - Freestanding Logo RGB.png"/>
          <p:cNvPicPr>
            <a:picLocks noChangeAspect="1"/>
          </p:cNvPicPr>
          <p:nvPr/>
        </p:nvPicPr>
        <p:blipFill>
          <a:blip r:embed="rId11" r:link="rId1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1450" y="6519863"/>
            <a:ext cx="103187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3"/>
            <a:ext cx="1251554" cy="328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453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600" r:id="rId1"/>
    <p:sldLayoutId id="2147493601" r:id="rId2"/>
    <p:sldLayoutId id="2147493602" r:id="rId3"/>
    <p:sldLayoutId id="2147493603" r:id="rId4"/>
    <p:sldLayoutId id="2147493604" r:id="rId5"/>
    <p:sldLayoutId id="2147493605" r:id="rId6"/>
    <p:sldLayoutId id="2147493606" r:id="rId7"/>
    <p:sldLayoutId id="2147493607" r:id="rId8"/>
    <p:sldLayoutId id="2147493608" r:id="rId9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800" b="1" kern="1200" dirty="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5.jpeg"/><Relationship Id="rId4" Type="http://schemas.openxmlformats.org/officeDocument/2006/relationships/hyperlink" Target="https://commons.wikimedia.org/wiki/File:Le_restaurant_V%C3%A9ry_-_ext.png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6.jpeg"/><Relationship Id="rId4" Type="http://schemas.openxmlformats.org/officeDocument/2006/relationships/image" Target="../media/image3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8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3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6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jp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59.jp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8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8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7.svg"/><Relationship Id="rId5" Type="http://schemas.openxmlformats.org/officeDocument/2006/relationships/image" Target="../media/image66.png"/><Relationship Id="rId4" Type="http://schemas.openxmlformats.org/officeDocument/2006/relationships/image" Target="../media/image65.sv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4" Type="http://schemas.openxmlformats.org/officeDocument/2006/relationships/image" Target="../media/image70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4" Type="http://schemas.openxmlformats.org/officeDocument/2006/relationships/image" Target="../media/image73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75.png"/><Relationship Id="rId4" Type="http://schemas.openxmlformats.org/officeDocument/2006/relationships/image" Target="../media/image74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3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78.png"/><Relationship Id="rId4" Type="http://schemas.openxmlformats.org/officeDocument/2006/relationships/image" Target="../media/image77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4" Type="http://schemas.openxmlformats.org/officeDocument/2006/relationships/image" Target="../media/image80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5" Type="http://schemas.openxmlformats.org/officeDocument/2006/relationships/comments" Target="../comments/comment4.xml"/><Relationship Id="rId4" Type="http://schemas.openxmlformats.org/officeDocument/2006/relationships/image" Target="../media/image82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4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4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jpe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5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93.PNG"/><Relationship Id="rId4" Type="http://schemas.openxmlformats.org/officeDocument/2006/relationships/image" Target="../media/image92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8.png"/><Relationship Id="rId5" Type="http://schemas.openxmlformats.org/officeDocument/2006/relationships/image" Target="../media/image97.png"/><Relationship Id="rId4" Type="http://schemas.openxmlformats.org/officeDocument/2006/relationships/image" Target="../media/image96.png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7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5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7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kv"/><Relationship Id="rId1" Type="http://schemas.microsoft.com/office/2007/relationships/media" Target="../media/media1.mkv"/><Relationship Id="rId5" Type="http://schemas.openxmlformats.org/officeDocument/2006/relationships/image" Target="../media/image106.png"/><Relationship Id="rId4" Type="http://schemas.openxmlformats.org/officeDocument/2006/relationships/notesSlide" Target="../notesSlides/notesSlide38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mkv"/><Relationship Id="rId1" Type="http://schemas.microsoft.com/office/2007/relationships/media" Target="../media/media2.mkv"/><Relationship Id="rId5" Type="http://schemas.openxmlformats.org/officeDocument/2006/relationships/image" Target="../media/image107.png"/><Relationship Id="rId4" Type="http://schemas.openxmlformats.org/officeDocument/2006/relationships/notesSlide" Target="../notesSlides/notesSlide39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7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0.pn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3.mkv"/><Relationship Id="rId1" Type="http://schemas.microsoft.com/office/2007/relationships/media" Target="../media/media3.mkv"/><Relationship Id="rId5" Type="http://schemas.openxmlformats.org/officeDocument/2006/relationships/image" Target="../media/image109.png"/><Relationship Id="rId4" Type="http://schemas.openxmlformats.org/officeDocument/2006/relationships/notesSlide" Target="../notesSlides/notesSlide44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0.png"/><Relationship Id="rId5" Type="http://schemas.openxmlformats.org/officeDocument/2006/relationships/image" Target="../media/image460.png"/><Relationship Id="rId4" Type="http://schemas.openxmlformats.org/officeDocument/2006/relationships/image" Target="../media/image530.png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4.mkv"/><Relationship Id="rId1" Type="http://schemas.microsoft.com/office/2007/relationships/media" Target="../media/media4.mkv"/><Relationship Id="rId5" Type="http://schemas.openxmlformats.org/officeDocument/2006/relationships/image" Target="../media/image110.png"/><Relationship Id="rId4" Type="http://schemas.openxmlformats.org/officeDocument/2006/relationships/notesSlide" Target="../notesSlides/notesSlide47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0.png"/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20.png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5.mkv"/><Relationship Id="rId1" Type="http://schemas.microsoft.com/office/2007/relationships/media" Target="../media/media5.mkv"/><Relationship Id="rId5" Type="http://schemas.openxmlformats.org/officeDocument/2006/relationships/image" Target="../media/image111.png"/><Relationship Id="rId4" Type="http://schemas.openxmlformats.org/officeDocument/2006/relationships/notesSlide" Target="../notesSlides/notesSlide50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2.xm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7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6.mkv"/><Relationship Id="rId1" Type="http://schemas.microsoft.com/office/2007/relationships/media" Target="../media/media6.mkv"/><Relationship Id="rId5" Type="http://schemas.openxmlformats.org/officeDocument/2006/relationships/image" Target="../media/image113.png"/><Relationship Id="rId4" Type="http://schemas.openxmlformats.org/officeDocument/2006/relationships/notesSlide" Target="../notesSlides/notesSlide54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7.mkv"/><Relationship Id="rId1" Type="http://schemas.microsoft.com/office/2007/relationships/media" Target="../media/media7.mkv"/><Relationship Id="rId5" Type="http://schemas.openxmlformats.org/officeDocument/2006/relationships/image" Target="../media/image114.png"/><Relationship Id="rId4" Type="http://schemas.openxmlformats.org/officeDocument/2006/relationships/notesSlide" Target="../notesSlides/notesSlide56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2.xml"/></Relationships>
</file>

<file path=ppt/slides/_rels/slide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6.png"/><Relationship Id="rId1" Type="http://schemas.openxmlformats.org/officeDocument/2006/relationships/slideLayout" Target="../slideLayouts/slideLayout2.xml"/></Relationships>
</file>

<file path=ppt/slides/_rels/slide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2.xml"/></Relationships>
</file>

<file path=ppt/slides/_rels/slide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jpeg"/><Relationship Id="rId2" Type="http://schemas.openxmlformats.org/officeDocument/2006/relationships/image" Target="../media/image118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1.jpeg"/><Relationship Id="rId4" Type="http://schemas.openxmlformats.org/officeDocument/2006/relationships/image" Target="../media/image1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Doctoral Thesis in Applied Mathematics </a:t>
            </a:r>
            <a:br>
              <a:rPr lang="en-US" dirty="0"/>
            </a:br>
            <a:r>
              <a:rPr lang="en-US" dirty="0"/>
              <a:t>	</a:t>
            </a:r>
            <a:r>
              <a:rPr lang="en-US"/>
              <a:t>Defense Presentatio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29</a:t>
            </a:r>
            <a:r>
              <a:rPr lang="en-US" baseline="30000" dirty="0"/>
              <a:t>th</a:t>
            </a:r>
            <a:r>
              <a:rPr lang="en-US" dirty="0"/>
              <a:t> March 2019</a:t>
            </a:r>
          </a:p>
          <a:p>
            <a:r>
              <a:rPr lang="en-US" dirty="0"/>
              <a:t>Porto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Alojz Gomol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Obstacle avoidance based on Reach Sets</a:t>
            </a:r>
          </a:p>
        </p:txBody>
      </p:sp>
    </p:spTree>
    <p:extLst>
      <p:ext uri="{BB962C8B-B14F-4D97-AF65-F5344CB8AC3E}">
        <p14:creationId xmlns:p14="http://schemas.microsoft.com/office/powerpoint/2010/main" val="613919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581497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Problems in Detect &amp; Avoid</a:t>
            </a:r>
            <a:r>
              <a:rPr lang="en-US" sz="3600" dirty="0"/>
              <a:t>:</a:t>
            </a:r>
            <a:br>
              <a:rPr lang="en-US" sz="3600" dirty="0"/>
            </a:b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Explained as a story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Incremental problem definition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4913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pic>
        <p:nvPicPr>
          <p:cNvPr id="15362" name="Picture 2" descr="File:Le restaurant VÃ©ry - ext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351" y="70037"/>
            <a:ext cx="3584448" cy="5336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331351" y="6011971"/>
            <a:ext cx="442300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" dirty="0"/>
              <a:t>[1]</a:t>
            </a:r>
            <a:r>
              <a:rPr lang="en-US" sz="500" dirty="0">
                <a:hlinkClick r:id="rId4"/>
              </a:rPr>
              <a:t>https://commons.wikimedia.org/wiki/File:Le_restaurant_V%C3%A9ry_-_ext.png</a:t>
            </a:r>
            <a:endParaRPr lang="en-US" sz="500" dirty="0"/>
          </a:p>
          <a:p>
            <a:r>
              <a:rPr lang="en-US" sz="500" dirty="0"/>
              <a:t>[2]https://commons.wikimedia.org/wiki/File:A_gentleman,_walking_towards_the_left_and_drawing_his_sword_from_the_sheath,_wearing_a_plumed_hat_and_boots_with_spurs_MET_DP829192.jpg</a:t>
            </a:r>
          </a:p>
        </p:txBody>
      </p:sp>
      <p:pic>
        <p:nvPicPr>
          <p:cNvPr id="15364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3919" y="70037"/>
            <a:ext cx="2696997" cy="4076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3597445" y="4329787"/>
            <a:ext cx="5468164" cy="175432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How this gentleman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gets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into the Fine Restaurant</a:t>
            </a:r>
            <a:endParaRPr lang="en-US" sz="3600" b="1" cap="none" spc="0" dirty="0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990131" y="815407"/>
            <a:ext cx="819455" cy="258532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</p:txBody>
      </p:sp>
    </p:spTree>
    <p:extLst>
      <p:ext uri="{BB962C8B-B14F-4D97-AF65-F5344CB8AC3E}">
        <p14:creationId xmlns:p14="http://schemas.microsoft.com/office/powerpoint/2010/main" val="1316873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get to the fine restauran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1210757"/>
            <a:ext cx="8341086" cy="515011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7225910" y="1235551"/>
            <a:ext cx="914400" cy="408623"/>
          </a:xfrm>
          <a:prstGeom prst="wedgeRoundRectCallout">
            <a:avLst>
              <a:gd name="adj1" fmla="val 76350"/>
              <a:gd name="adj2" fmla="val -138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ome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842477" y="4930467"/>
            <a:ext cx="1467805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staurant</a:t>
            </a:r>
          </a:p>
        </p:txBody>
      </p:sp>
      <p:sp>
        <p:nvSpPr>
          <p:cNvPr id="3" name="Scroll: Horizontal 2"/>
          <p:cNvSpPr/>
          <p:nvPr/>
        </p:nvSpPr>
        <p:spPr>
          <a:xfrm>
            <a:off x="530352" y="1235551"/>
            <a:ext cx="2121408" cy="858857"/>
          </a:xfrm>
          <a:prstGeom prst="horizontalScroll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sk-SK" dirty="0" err="1">
                <a:solidFill>
                  <a:schemeClr val="bg1"/>
                </a:solidFill>
              </a:rPr>
              <a:t>Östlichesburg</a:t>
            </a:r>
            <a:endParaRPr lang="sk-SK" dirty="0">
              <a:solidFill>
                <a:schemeClr val="bg1"/>
              </a:solidFill>
            </a:endParaRPr>
          </a:p>
          <a:p>
            <a:pPr algn="ctr"/>
            <a:r>
              <a:rPr lang="en-US" dirty="0">
                <a:solidFill>
                  <a:schemeClr val="bg1"/>
                </a:solidFill>
              </a:rPr>
              <a:t>~ </a:t>
            </a:r>
            <a:r>
              <a:rPr lang="sk-SK" dirty="0">
                <a:solidFill>
                  <a:schemeClr val="bg1"/>
                </a:solidFill>
              </a:rPr>
              <a:t>1269</a:t>
            </a:r>
            <a:r>
              <a:rPr lang="en-US" dirty="0">
                <a:solidFill>
                  <a:schemeClr val="bg1"/>
                </a:solidFill>
              </a:rPr>
              <a:t> AD</a:t>
            </a:r>
          </a:p>
        </p:txBody>
      </p:sp>
    </p:spTree>
    <p:extLst>
      <p:ext uri="{BB962C8B-B14F-4D97-AF65-F5344CB8AC3E}">
        <p14:creationId xmlns:p14="http://schemas.microsoft.com/office/powerpoint/2010/main" val="853832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 problem, I know a map of my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6792" y="856418"/>
            <a:ext cx="478218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1] Path planning problem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Get MAP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PLAN then EXECUTE the PATH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chemeClr val="accent3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2833352" y="3012528"/>
            <a:ext cx="2207818" cy="715089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th to  restaurant</a:t>
            </a:r>
          </a:p>
        </p:txBody>
      </p:sp>
    </p:spTree>
    <p:extLst>
      <p:ext uri="{BB962C8B-B14F-4D97-AF65-F5344CB8AC3E}">
        <p14:creationId xmlns:p14="http://schemas.microsoft.com/office/powerpoint/2010/main" val="383414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get your map, know the restaurant locatio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3807068" y="2012322"/>
            <a:ext cx="1805601" cy="408623"/>
          </a:xfrm>
          <a:prstGeom prst="wedgeRoundRectCallout">
            <a:avLst>
              <a:gd name="adj1" fmla="val 70218"/>
              <a:gd name="adj2" fmla="val 20266"/>
              <a:gd name="adj3" fmla="val 16667"/>
            </a:avLst>
          </a:prstGeom>
          <a:solidFill>
            <a:schemeClr val="bg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ield of Vision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152292" y="938456"/>
            <a:ext cx="1623856" cy="408623"/>
          </a:xfrm>
          <a:prstGeom prst="wedgeRoundRectCallout">
            <a:avLst>
              <a:gd name="adj1" fmla="val 134852"/>
              <a:gd name="adj2" fmla="val -7470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y Position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30352" y="888612"/>
            <a:ext cx="4012834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1] Evolving world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Obtaining knowledge over time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</a:t>
            </a:r>
            <a:r>
              <a:rPr lang="en-US" b="1" dirty="0" err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tinous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Decision Making</a:t>
            </a:r>
          </a:p>
        </p:txBody>
      </p:sp>
    </p:spTree>
    <p:extLst>
      <p:ext uri="{BB962C8B-B14F-4D97-AF65-F5344CB8AC3E}">
        <p14:creationId xmlns:p14="http://schemas.microsoft.com/office/powerpoint/2010/main" val="4270157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 get to the first intersection, now wha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5009882" y="1856022"/>
            <a:ext cx="914400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009882" y="1356220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954334" y="947597"/>
            <a:ext cx="914400" cy="408623"/>
          </a:xfrm>
          <a:prstGeom prst="wedgeRoundRectCallout">
            <a:avLst>
              <a:gd name="adj1" fmla="val 66491"/>
              <a:gd name="adj2" fmla="val 213785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3420250" y="2457744"/>
            <a:ext cx="2207818" cy="408623"/>
          </a:xfrm>
          <a:prstGeom prst="wedgeRoundRectCallout">
            <a:avLst>
              <a:gd name="adj1" fmla="val 85350"/>
              <a:gd name="adj2" fmla="val -7302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6429770" y="3116268"/>
            <a:ext cx="2207818" cy="408623"/>
          </a:xfrm>
          <a:prstGeom prst="wedgeRoundRectCallout">
            <a:avLst>
              <a:gd name="adj1" fmla="val -21983"/>
              <a:gd name="adj2" fmla="val -85633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86265"/>
            <a:ext cx="2160094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: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3" name="Speech Bubble: Rectangle with Corners Rounded 12"/>
          <p:cNvSpPr/>
          <p:nvPr/>
        </p:nvSpPr>
        <p:spPr>
          <a:xfrm>
            <a:off x="5862349" y="5086629"/>
            <a:ext cx="2775239" cy="1021556"/>
          </a:xfrm>
          <a:prstGeom prst="wedgeRoundRectCallout">
            <a:avLst>
              <a:gd name="adj1" fmla="val -88650"/>
              <a:gd name="adj2" fmla="val -27641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pply COST Functio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</a:t>
            </a:r>
          </a:p>
        </p:txBody>
      </p:sp>
    </p:spTree>
    <p:extLst>
      <p:ext uri="{BB962C8B-B14F-4D97-AF65-F5344CB8AC3E}">
        <p14:creationId xmlns:p14="http://schemas.microsoft.com/office/powerpoint/2010/main" val="2277543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ok around, get know to your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31022" y="1540156"/>
            <a:ext cx="3455377" cy="408623"/>
          </a:xfrm>
          <a:prstGeom prst="wedgeRoundRectCallout">
            <a:avLst>
              <a:gd name="adj1" fmla="val 64639"/>
              <a:gd name="adj2" fmla="val 174852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his PATH can get me Closer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</p:spTree>
    <p:extLst>
      <p:ext uri="{BB962C8B-B14F-4D97-AF65-F5344CB8AC3E}">
        <p14:creationId xmlns:p14="http://schemas.microsoft.com/office/powerpoint/2010/main" val="3408543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lk a little more, get closer to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292440" y="3973747"/>
            <a:ext cx="914400" cy="408623"/>
          </a:xfrm>
          <a:prstGeom prst="wedgeRoundRectCallout">
            <a:avLst>
              <a:gd name="adj1" fmla="val 122829"/>
              <a:gd name="adj2" fmla="val -22598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292440" y="3292631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2863232" y="2640472"/>
            <a:ext cx="914400" cy="408623"/>
          </a:xfrm>
          <a:prstGeom prst="wedgeRoundRectCallout">
            <a:avLst>
              <a:gd name="adj1" fmla="val 34097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5628068" y="3709946"/>
            <a:ext cx="2207818" cy="408623"/>
          </a:xfrm>
          <a:prstGeom prst="wedgeRoundRectCallout">
            <a:avLst>
              <a:gd name="adj1" fmla="val -130482"/>
              <a:gd name="adj2" fmla="val -1629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5628068" y="3101666"/>
            <a:ext cx="2207818" cy="408623"/>
          </a:xfrm>
          <a:prstGeom prst="wedgeRoundRectCallout">
            <a:avLst>
              <a:gd name="adj1" fmla="val -63400"/>
              <a:gd name="adj2" fmla="val -11360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56420"/>
            <a:ext cx="2124925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inse and repeat </a:t>
            </a:r>
          </a:p>
        </p:txBody>
      </p:sp>
    </p:spTree>
    <p:extLst>
      <p:ext uri="{BB962C8B-B14F-4D97-AF65-F5344CB8AC3E}">
        <p14:creationId xmlns:p14="http://schemas.microsoft.com/office/powerpoint/2010/main" val="2694258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w Gentleman can see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47874" y="5336740"/>
            <a:ext cx="2133037" cy="715089"/>
          </a:xfrm>
          <a:prstGeom prst="wedgeRoundRectCallout">
            <a:avLst>
              <a:gd name="adj1" fmla="val 58592"/>
              <a:gd name="adj2" fmla="val -47543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can see the way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o the Restaurant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5132429"/>
            <a:ext cx="2207818" cy="408623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56418"/>
            <a:ext cx="3927348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ET to the Restaurant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183170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joy a Pi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856420"/>
            <a:ext cx="5020442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1] Evolving world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EMI-Optimal navigation to GOAL</a:t>
            </a: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Less optimal than [1]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4825963"/>
            <a:ext cx="2207818" cy="1021556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r destination is at the right side of the road</a:t>
            </a:r>
          </a:p>
        </p:txBody>
      </p:sp>
    </p:spTree>
    <p:extLst>
      <p:ext uri="{BB962C8B-B14F-4D97-AF65-F5344CB8AC3E}">
        <p14:creationId xmlns:p14="http://schemas.microsoft.com/office/powerpoint/2010/main" val="720138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6588BC-4944-4B47-AE23-F05B6CE4E1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1D31553-C5DB-4BB8-B191-D51EDED36E6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Sense &amp; Avoid introduction:</a:t>
            </a:r>
          </a:p>
          <a:p>
            <a:r>
              <a:rPr lang="en-US" dirty="0"/>
              <a:t>Context of SAA</a:t>
            </a:r>
          </a:p>
          <a:p>
            <a:r>
              <a:rPr lang="en-US" dirty="0"/>
              <a:t>Actors</a:t>
            </a:r>
          </a:p>
          <a:p>
            <a:r>
              <a:rPr lang="en-US" dirty="0"/>
              <a:t>Reactive Obstacle Avoidance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i="1" u="sng" dirty="0"/>
              <a:t>Problems in Detect &amp; Avoid:</a:t>
            </a:r>
          </a:p>
          <a:p>
            <a:r>
              <a:rPr lang="en-US" dirty="0"/>
              <a:t>Explained as a story</a:t>
            </a:r>
          </a:p>
          <a:p>
            <a:r>
              <a:rPr lang="en-US" dirty="0"/>
              <a:t>Incremental problem definition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i="1" u="sng" dirty="0"/>
              <a:t>Related work:</a:t>
            </a:r>
          </a:p>
          <a:p>
            <a:r>
              <a:rPr lang="en-US" dirty="0"/>
              <a:t>Movement Automaton</a:t>
            </a:r>
          </a:p>
          <a:p>
            <a:r>
              <a:rPr lang="en-US" dirty="0"/>
              <a:t>Surveillance</a:t>
            </a:r>
          </a:p>
          <a:p>
            <a:r>
              <a:rPr lang="en-US" dirty="0"/>
              <a:t>Navigation</a:t>
            </a:r>
          </a:p>
          <a:p>
            <a:r>
              <a:rPr lang="en-US" dirty="0"/>
              <a:t>Reach set estima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0CF532-BA97-4124-A199-38EA2732F7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Proposed framework:</a:t>
            </a:r>
          </a:p>
          <a:p>
            <a:r>
              <a:rPr lang="en-US" dirty="0"/>
              <a:t>Overview</a:t>
            </a:r>
          </a:p>
          <a:p>
            <a:r>
              <a:rPr lang="en-US" dirty="0"/>
              <a:t>Avoidance Run </a:t>
            </a:r>
          </a:p>
          <a:p>
            <a:r>
              <a:rPr lang="en-US" dirty="0"/>
              <a:t>UTM Implementation</a:t>
            </a:r>
          </a:p>
          <a:p>
            <a:r>
              <a:rPr lang="en-US" dirty="0"/>
              <a:t>Rule Engine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i="1" u="sng" dirty="0"/>
              <a:t>Simulations:</a:t>
            </a:r>
          </a:p>
          <a:p>
            <a:r>
              <a:rPr lang="en-US" dirty="0"/>
              <a:t>Test Plan</a:t>
            </a:r>
          </a:p>
          <a:p>
            <a:r>
              <a:rPr lang="en-US" dirty="0"/>
              <a:t>Obstacle avoidance</a:t>
            </a:r>
          </a:p>
          <a:p>
            <a:r>
              <a:rPr lang="en-US" dirty="0"/>
              <a:t>Weather avoidance</a:t>
            </a:r>
          </a:p>
          <a:p>
            <a:r>
              <a:rPr lang="en-US" dirty="0"/>
              <a:t>Rules of the Air</a:t>
            </a:r>
          </a:p>
          <a:p>
            <a:r>
              <a:rPr lang="en-US" dirty="0"/>
              <a:t>Cooperative vs. Noncooperative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i="1" u="sng" dirty="0"/>
              <a:t>Conclus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2AFAD75-594A-4EAA-8F0B-C26E5CD4B22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B570C130-3947-5746-9F16-5E7E49C44C45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7448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 are NOT alone on the streets !</a:t>
            </a:r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4827588" y="1112623"/>
            <a:ext cx="3810000" cy="228600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sp>
        <p:nvSpPr>
          <p:cNvPr id="11" name="Rectangle: Rounded Corners 10"/>
          <p:cNvSpPr/>
          <p:nvPr/>
        </p:nvSpPr>
        <p:spPr>
          <a:xfrm>
            <a:off x="530352" y="1108727"/>
            <a:ext cx="3912859" cy="2247424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Adversarial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need to avoid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arriages and Other peopl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hurt others !</a:t>
            </a:r>
          </a:p>
        </p:txBody>
      </p:sp>
      <p:sp>
        <p:nvSpPr>
          <p:cNvPr id="13" name="Rectangle: Rounded Corners 12"/>
          <p:cNvSpPr/>
          <p:nvPr/>
        </p:nvSpPr>
        <p:spPr>
          <a:xfrm>
            <a:off x="4827589" y="3654826"/>
            <a:ext cx="3912859" cy="2553891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Adversarial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active obstacle avoidanc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gredients: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Posi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Velocity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wn position and velocity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0352" y="3654828"/>
            <a:ext cx="3912859" cy="2781798"/>
          </a:xfrm>
          <a:prstGeom prst="rect">
            <a:avLst/>
          </a:prstGeom>
        </p:spPr>
      </p:pic>
      <p:pic>
        <p:nvPicPr>
          <p:cNvPr id="20482" name="Picture 2" descr="VÃ½sledok vyhÄ¾adÃ¡vania obrÃ¡zkov pre dopyt street crowd old time london drawi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19" t="43680" r="42116"/>
          <a:stretch/>
        </p:blipFill>
        <p:spPr bwMode="auto">
          <a:xfrm>
            <a:off x="4827589" y="959754"/>
            <a:ext cx="3810000" cy="2438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7799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ple source of information – Data Fu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sp>
        <p:nvSpPr>
          <p:cNvPr id="5" name="AutoShape 2" descr="Výsledok vyhľadávania obrázkov pre dopyt man with map"/>
          <p:cNvSpPr>
            <a:spLocks noChangeAspect="1" noChangeArrowheads="1"/>
          </p:cNvSpPr>
          <p:nvPr/>
        </p:nvSpPr>
        <p:spPr bwMode="auto">
          <a:xfrm>
            <a:off x="9495606" y="427407"/>
            <a:ext cx="116768" cy="116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1019114"/>
            <a:ext cx="4415134" cy="2860358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uch Inform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any Whispers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ed Valid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uch Verification …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076007" y="3757677"/>
            <a:ext cx="3561582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 under uncertainty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termine what is truth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sider all informa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ank your sources worth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l="26023" r="34504" b="50150"/>
          <a:stretch/>
        </p:blipFill>
        <p:spPr>
          <a:xfrm>
            <a:off x="1275939" y="3910910"/>
            <a:ext cx="2733353" cy="229711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76007" y="1193482"/>
            <a:ext cx="3503053" cy="2511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857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gilantes &amp; Grannies – Static restriction are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973303"/>
            <a:ext cx="3721406" cy="1940957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Vigilantes will kill you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nnies will tell your grandmother ….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4531587" y="3729110"/>
            <a:ext cx="4047473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break it, but you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ill pay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ERRIBLE PRICE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y to avoid all restricted areas</a:t>
            </a:r>
          </a:p>
        </p:txBody>
      </p:sp>
      <p:pic>
        <p:nvPicPr>
          <p:cNvPr id="17414" name="Picture 6" descr="VÃ½sledok vyhÄ¾adÃ¡vania obrÃ¡zkov pre dopyt old ladies drawi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980" y="3138854"/>
            <a:ext cx="3450087" cy="3200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6" name="Picture 8" descr="VÃ½sledok vyhÄ¾adÃ¡vania obrÃ¡zkov pre dopyt knights drawi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7241" y="973301"/>
            <a:ext cx="3733905" cy="2314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576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y to avoid static restrictions areas !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434820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85730"/>
            <a:ext cx="2634880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void them all !</a:t>
            </a:r>
          </a:p>
        </p:txBody>
      </p:sp>
    </p:spTree>
    <p:extLst>
      <p:ext uri="{BB962C8B-B14F-4D97-AF65-F5344CB8AC3E}">
        <p14:creationId xmlns:p14="http://schemas.microsoft.com/office/powerpoint/2010/main" val="1185525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about weather 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  <p:pic>
        <p:nvPicPr>
          <p:cNvPr id="19458" name="Picture 2" descr="https://i.pinimg.com/originals/6a/09/71/6a0971ba5097dd9af83d03f497032bd6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492" y="3026147"/>
            <a:ext cx="4018208" cy="3013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0" name="Picture 4" descr="Výsledok vyhľadávania obrázkov pre dopyt frozen tree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1504" y="1190882"/>
            <a:ext cx="3897555" cy="2685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: Rounded Corners 6"/>
          <p:cNvSpPr/>
          <p:nvPr/>
        </p:nvSpPr>
        <p:spPr>
          <a:xfrm>
            <a:off x="530352" y="1223127"/>
            <a:ext cx="4025348" cy="1634490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winter very harsh,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n the other hand,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summer  even </a:t>
            </a:r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er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4681504" y="4152804"/>
            <a:ext cx="4230676" cy="1940957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 Weather Avoid NOW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aybe you will need to break some restrictions</a:t>
            </a:r>
          </a:p>
        </p:txBody>
      </p:sp>
    </p:spTree>
    <p:extLst>
      <p:ext uri="{BB962C8B-B14F-4D97-AF65-F5344CB8AC3E}">
        <p14:creationId xmlns:p14="http://schemas.microsoft.com/office/powerpoint/2010/main" val="2201781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ther get caught, than catching cold …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  <p:sp>
        <p:nvSpPr>
          <p:cNvPr id="9" name="Rectangle: Rounded Corners 8"/>
          <p:cNvSpPr/>
          <p:nvPr/>
        </p:nvSpPr>
        <p:spPr>
          <a:xfrm>
            <a:off x="5407309" y="3068806"/>
            <a:ext cx="3230279" cy="3200043"/>
          </a:xfrm>
          <a:prstGeom prst="roundRect">
            <a:avLst>
              <a:gd name="adj" fmla="val 4763"/>
            </a:avLst>
          </a:prstGeom>
          <a:solidFill>
            <a:schemeClr val="accent2"/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eatwave</a:t>
            </a:r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2262551"/>
            <a:ext cx="3230279" cy="4047113"/>
          </a:xfrm>
          <a:prstGeom prst="roundRect">
            <a:avLst>
              <a:gd name="adj" fmla="val 4763"/>
            </a:avLst>
          </a:prstGeom>
          <a:solidFill>
            <a:schemeClr val="accent3">
              <a:lumMod val="50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nowstorm</a:t>
            </a: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837904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0" name="Rectangle: Rounded Corners 9"/>
          <p:cNvSpPr/>
          <p:nvPr/>
        </p:nvSpPr>
        <p:spPr>
          <a:xfrm>
            <a:off x="530352" y="839106"/>
            <a:ext cx="638560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will avoid Snowstorm, 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ut you will answer to Grandmother call …</a:t>
            </a:r>
          </a:p>
        </p:txBody>
      </p:sp>
      <p:pic>
        <p:nvPicPr>
          <p:cNvPr id="13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02" t="8636" r="29501" b="74755"/>
          <a:stretch/>
        </p:blipFill>
        <p:spPr bwMode="auto">
          <a:xfrm>
            <a:off x="708571" y="3068806"/>
            <a:ext cx="973517" cy="677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peech Bubble: Rectangle with Corners Rounded 11"/>
          <p:cNvSpPr/>
          <p:nvPr/>
        </p:nvSpPr>
        <p:spPr>
          <a:xfrm>
            <a:off x="1797089" y="2812841"/>
            <a:ext cx="2207818" cy="715089"/>
          </a:xfrm>
          <a:prstGeom prst="wedgeRoundRectCallout">
            <a:avLst>
              <a:gd name="adj1" fmla="val -65733"/>
              <a:gd name="adj2" fmla="val 3683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will explain somehow…</a:t>
            </a:r>
          </a:p>
        </p:txBody>
      </p:sp>
    </p:spTree>
    <p:extLst>
      <p:ext uri="{BB962C8B-B14F-4D97-AF65-F5344CB8AC3E}">
        <p14:creationId xmlns:p14="http://schemas.microsoft.com/office/powerpoint/2010/main" val="1581266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ick to the rules 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1376361"/>
            <a:ext cx="3202388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5] Rules: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bey rules while walking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2872979"/>
            <a:ext cx="3202388" cy="31668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5] Rule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tick to Written and unwritten rules …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cessity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or integration into traffic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ciety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ir space</a:t>
            </a:r>
          </a:p>
        </p:txBody>
      </p:sp>
      <p:pic>
        <p:nvPicPr>
          <p:cNvPr id="16386" name="Picture 2" descr="VÃ½sledok vyhÄ¾adÃ¡vania obrÃ¡zkov pre dopyt musketeer duel drawi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634"/>
          <a:stretch/>
        </p:blipFill>
        <p:spPr bwMode="auto">
          <a:xfrm>
            <a:off x="4009291" y="856420"/>
            <a:ext cx="4747847" cy="5434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2658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l problem specification                         1/2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The UAS is operating in space </a:t>
            </a:r>
            <a:r>
              <a:rPr lang="en-US" i="1" u="sng" dirty="0"/>
              <a:t>classified into four distinctive subsets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space classification is coming from </a:t>
            </a:r>
            <a:r>
              <a:rPr lang="en-US" i="1" u="sng" dirty="0"/>
              <a:t>data fusion procedure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67E2D92-9DEC-404B-A8C4-F1E79F09094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122476" y="1741980"/>
            <a:ext cx="8899047" cy="55619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77B3929-7EB3-4FD7-9F53-126780D72CAC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76890" y="2701137"/>
            <a:ext cx="8313904" cy="3338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9029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l problem </a:t>
            </a:r>
            <a:r>
              <a:rPr lang="en-US"/>
              <a:t>specification                         2/2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UAS will fly a </a:t>
            </a:r>
            <a:r>
              <a:rPr lang="en-US" b="1" i="1" u="sng" dirty="0"/>
              <a:t>Mission</a:t>
            </a:r>
            <a:r>
              <a:rPr lang="en-US" dirty="0"/>
              <a:t> given as ordered set of waypoints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goal is to have </a:t>
            </a:r>
            <a:r>
              <a:rPr lang="en-US" b="1" i="1" u="sng" dirty="0"/>
              <a:t>path</a:t>
            </a:r>
            <a:r>
              <a:rPr lang="en-US" dirty="0"/>
              <a:t> satisfying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Under the </a:t>
            </a:r>
            <a:r>
              <a:rPr lang="en-US" b="1" i="1" u="sng" dirty="0"/>
              <a:t>assumptions</a:t>
            </a:r>
            <a:r>
              <a:rPr lang="en-US" dirty="0"/>
              <a:t>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iltered sensor reading are available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re are no moving obstacles (intruders)  				[Relaxed P3]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movement takes place in unrestricted airspace		[Relaxed P5]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mission consist of a set of reachable waypoints		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UAS is moving with constant velocity					[Relaxed P5]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B693D87-6F07-4264-B3A7-C63AFC0B5350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358367" y="1633860"/>
            <a:ext cx="8394666" cy="103619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E462551-B07F-4EF8-8589-29DC77AE4794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347238" y="3210171"/>
            <a:ext cx="8449523" cy="630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359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1] Basic Avoidanc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∀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lasificait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function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Known world</a:t>
                </a:r>
                <a:r>
                  <a:rPr lang="en-US" dirty="0"/>
                  <a:t> - consisting from Free, Occupied, Unknown set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Mission</a:t>
                </a:r>
                <a:r>
                  <a:rPr lang="en-US" dirty="0"/>
                  <a:t> - Assumptions 1-5 are valid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s</a:t>
                </a:r>
                <a:r>
                  <a:rPr lang="en-US" dirty="0"/>
                  <a:t> - LiDAR sensor is introduced as source of information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 fusion </a:t>
                </a:r>
                <a:r>
                  <a:rPr lang="en-US" dirty="0"/>
                  <a:t>- classification function implementation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Flight constraints</a:t>
                </a:r>
                <a:r>
                  <a:rPr lang="en-US" i="1" dirty="0"/>
                  <a:t> </a:t>
                </a:r>
                <a:r>
                  <a:rPr lang="en-US" dirty="0"/>
                  <a:t>- UAS dynamic only.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b="1" i="1" u="sng" dirty="0"/>
                  <a:t>Problems addressed:</a:t>
                </a:r>
              </a:p>
              <a:p>
                <a:r>
                  <a:rPr lang="en-US" dirty="0"/>
                  <a:t>Navigation Loop Implementation (sec. 6.6.2).</a:t>
                </a:r>
              </a:p>
              <a:p>
                <a:r>
                  <a:rPr lang="en-US" dirty="0"/>
                  <a:t>Avoidance Loop Implementation (sec. 6.6.1).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606" b="-113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3548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200406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ense &amp; Avoid Introduction:</a:t>
            </a:r>
            <a:br>
              <a:rPr lang="en-US" dirty="0">
                <a:latin typeface="Arial monospaced for SAP" panose="020B0609020202030204" pitchFamily="49" charset="0"/>
              </a:rPr>
            </a:br>
            <a:br>
              <a:rPr lang="en-US" dirty="0"/>
            </a:br>
            <a:r>
              <a:rPr lang="en-US" dirty="0"/>
              <a:t>Airspace classific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UAS Traffic Management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erminology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eactive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138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2] Intruders Introduc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s</a:t>
                </a:r>
                <a:r>
                  <a:rPr lang="en-US" dirty="0"/>
                  <a:t> - ADS-B added enabling intruder detection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 fusion</a:t>
                </a:r>
                <a:r>
                  <a:rPr lang="en-US" dirty="0"/>
                  <a:t> - union of obstacle space and individual intruder space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dirty="0"/>
                  <a:t> - intruder corridors, changing over time.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b="1" i="1" u="sng" dirty="0"/>
                  <a:t>Problems addressed:</a:t>
                </a:r>
                <a:endParaRPr lang="en-US" dirty="0"/>
              </a:p>
              <a:p>
                <a:r>
                  <a:rPr lang="en-US" dirty="0"/>
                  <a:t>Intruder Intersection Models (minimal operation requirements achieved): Linear Intersection Model (app. C.1), Body-volume intersection (app. C.2), Maneuverability uncertainty intersection (app. C.3).</a:t>
                </a:r>
              </a:p>
              <a:p>
                <a:r>
                  <a:rPr lang="en-US" dirty="0"/>
                  <a:t>Flight Corridors (sec. 6.5.3).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606" b="-490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0192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3] Static restriction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𝑀𝑎𝑝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ata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fusion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Known world</a:t>
                </a:r>
                <a:r>
                  <a:rPr lang="en-US" dirty="0"/>
                  <a:t> - added restricted space portion evolving over time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Information sources</a:t>
                </a:r>
                <a:r>
                  <a:rPr lang="en-US" dirty="0"/>
                  <a:t> - added </a:t>
                </a:r>
                <a:r>
                  <a:rPr lang="en-US" i="1" dirty="0"/>
                  <a:t>Obstacle Map </a:t>
                </a:r>
                <a:r>
                  <a:rPr lang="en-US" dirty="0"/>
                  <a:t>(fig. 6.13), </a:t>
                </a:r>
                <a:r>
                  <a:rPr lang="en-US" i="1" dirty="0"/>
                  <a:t>Visibility Rating Concept</a:t>
                </a:r>
                <a:r>
                  <a:rPr lang="en-US" dirty="0"/>
                  <a:t> (fig. 6.12) and </a:t>
                </a:r>
                <a:r>
                  <a:rPr lang="en-US" i="1" dirty="0"/>
                  <a:t>Static Constraints </a:t>
                </a:r>
                <a:r>
                  <a:rPr lang="en-US" dirty="0"/>
                  <a:t>(sec. 6.5.3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Data fusion </a:t>
                </a:r>
                <a:r>
                  <a:rPr lang="en-US" dirty="0"/>
                  <a:t>- the rating implementation of the data fusion (sec. 6.5.4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i="1" dirty="0"/>
                  <a:t> </a:t>
                </a:r>
                <a:r>
                  <a:rPr lang="en-US" dirty="0"/>
                  <a:t>- added obstacles and terrain constraint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constraints</a:t>
                </a:r>
                <a:r>
                  <a:rPr lang="en-US" dirty="0"/>
                  <a:t> - added airspace restrictions and geo-fencing/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455" r="-909" b="-352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8147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4] Dynamic restriction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𝐷𝑎𝑡𝑎𝑏𝑎𝑠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 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𝑊𝑒𝑎𝑡h𝑒𝑟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𝑑𝑣𝑎𝑛𝑐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𝑑𝑎𝑡𝑎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𝑓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Information sources</a:t>
                </a:r>
                <a:r>
                  <a:rPr lang="en-US" dirty="0"/>
                  <a:t> - the weather adding </a:t>
                </a:r>
                <a:r>
                  <a:rPr lang="en-US" i="1" dirty="0"/>
                  <a:t>moving constraints  </a:t>
                </a:r>
                <a:r>
                  <a:rPr lang="en-US" dirty="0"/>
                  <a:t>(def. 20) example </a:t>
                </a:r>
                <a:r>
                  <a:rPr lang="en-US" i="1" dirty="0"/>
                  <a:t>Weather Avoidance Case</a:t>
                </a:r>
                <a:r>
                  <a:rPr lang="en-US" dirty="0"/>
                  <a:t> (app. E.1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dirty="0"/>
                  <a:t> - protection zones against severe weather conditions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constraints</a:t>
                </a:r>
                <a:r>
                  <a:rPr lang="en-US" dirty="0"/>
                  <a:t> - protection zones against mild weather conditions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455" r="-151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6613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sk-SK" dirty="0"/>
              <a:t>	</a:t>
            </a:r>
            <a:r>
              <a:rPr lang="en-US" dirty="0"/>
              <a:t>[P5] Rules of the air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𝐷𝑎𝑡𝑎𝑏𝑎𝑠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 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𝑊𝑒𝑎𝑡h𝑒𝑟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𝑑𝑣𝑎𝑛𝑐𝑒𝑑𝑑𝑎𝑡𝑎𝑓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𝐹𝑙𝑖𝑔h𝑡𝐶𝑜𝑛𝑠𝑡𝑟𝑎𝑡𝑖𝑛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irspaces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ules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f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h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ir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flight constraints</a:t>
                </a:r>
                <a:r>
                  <a:rPr lang="en-US" dirty="0"/>
                  <a:t> - different behavior in </a:t>
                </a:r>
                <a:r>
                  <a:rPr lang="en-US" i="1" dirty="0"/>
                  <a:t>airspace classes</a:t>
                </a:r>
                <a:r>
                  <a:rPr lang="en-US" dirty="0"/>
                  <a:t> added, </a:t>
                </a:r>
                <a:r>
                  <a:rPr lang="en-US" i="1" dirty="0"/>
                  <a:t>rules of the air</a:t>
                </a:r>
                <a:r>
                  <a:rPr lang="en-US" dirty="0"/>
                  <a:t> implementation added, introduction in </a:t>
                </a:r>
                <a:r>
                  <a:rPr lang="en-US" i="1" dirty="0"/>
                  <a:t>UTM Implementation</a:t>
                </a:r>
                <a:r>
                  <a:rPr lang="en-US" dirty="0"/>
                  <a:t> (sec. 6.7), </a:t>
                </a:r>
                <a:r>
                  <a:rPr lang="en-US" i="1" dirty="0"/>
                  <a:t>Rule Engine for UAS </a:t>
                </a:r>
                <a:r>
                  <a:rPr lang="en-US" dirty="0"/>
                  <a:t>(sec. 6.8.1) and </a:t>
                </a:r>
                <a:r>
                  <a:rPr lang="en-US" i="1" dirty="0"/>
                  <a:t>Rule Implementation </a:t>
                </a:r>
                <a:r>
                  <a:rPr lang="en-US" dirty="0"/>
                  <a:t>(sec. 6.8.2).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455" r="-151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8244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132016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Related work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ovement Automat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urveillance</a:t>
            </a:r>
            <a:br>
              <a:rPr lang="en-US" dirty="0"/>
            </a:br>
            <a:br>
              <a:rPr lang="en-US" dirty="0"/>
            </a:br>
            <a:r>
              <a:rPr lang="en-US" dirty="0"/>
              <a:t>Navig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each set estimatio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4713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 </a:t>
            </a:r>
            <a:br>
              <a:rPr lang="en-US" dirty="0"/>
            </a:br>
            <a:r>
              <a:rPr lang="en-US" dirty="0"/>
              <a:t>	Movement automaton (5.1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b="1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  <a:endParaRPr lang="en-US" sz="1600" dirty="0"/>
          </a:p>
          <a:p>
            <a:pPr marL="0" indent="0">
              <a:buNone/>
            </a:pPr>
            <a:r>
              <a:rPr lang="en-US" sz="1600" dirty="0"/>
              <a:t>[15] Emilio </a:t>
            </a:r>
            <a:r>
              <a:rPr lang="en-US" sz="1600" dirty="0" err="1"/>
              <a:t>Frazzoli</a:t>
            </a:r>
            <a:r>
              <a:rPr lang="en-US" sz="1600" dirty="0"/>
              <a:t>. Robust hybrid control for autonomous vehicle motion planning. PhD thesis, Massachusetts Institute of Technology, 2001.</a:t>
            </a:r>
          </a:p>
          <a:p>
            <a:endParaRPr lang="en-US" sz="1600" dirty="0"/>
          </a:p>
          <a:p>
            <a:pPr marL="0" indent="0">
              <a:buNone/>
            </a:pPr>
            <a:r>
              <a:rPr lang="en-US" sz="1600" dirty="0"/>
              <a:t>[91] Emilio </a:t>
            </a:r>
            <a:r>
              <a:rPr lang="en-US" sz="1600" dirty="0" err="1"/>
              <a:t>Frazzoli</a:t>
            </a:r>
            <a:r>
              <a:rPr lang="en-US" sz="1600" dirty="0"/>
              <a:t>, </a:t>
            </a:r>
            <a:r>
              <a:rPr lang="en-US" sz="1600" dirty="0" err="1"/>
              <a:t>Munther</a:t>
            </a:r>
            <a:r>
              <a:rPr lang="en-US" sz="1600" dirty="0"/>
              <a:t> A </a:t>
            </a:r>
            <a:r>
              <a:rPr lang="en-US" sz="1600" dirty="0" err="1"/>
              <a:t>Dahleh</a:t>
            </a:r>
            <a:r>
              <a:rPr lang="en-US" sz="1600" dirty="0"/>
              <a:t>, and Eric </a:t>
            </a:r>
            <a:r>
              <a:rPr lang="en-US" sz="1600" dirty="0" err="1"/>
              <a:t>Feron</a:t>
            </a:r>
            <a:r>
              <a:rPr lang="en-US" sz="1600" dirty="0"/>
              <a:t>. Trajectory tracking control design for autonomous helicopters using a </a:t>
            </a:r>
            <a:r>
              <a:rPr lang="en-US" sz="1600" dirty="0" err="1"/>
              <a:t>backstepping</a:t>
            </a:r>
            <a:r>
              <a:rPr lang="en-US" sz="1600" dirty="0"/>
              <a:t> algorithm. In American Control Conference, 2000. Proceedings of the 2000, volume 6, pages 4102{4107. IEEE, 2000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44455" y="1314813"/>
            <a:ext cx="3072483" cy="300791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3407" y="1314813"/>
            <a:ext cx="3629583" cy="2687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764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Surveillance (5.2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98] Fredrik Gustafsson. Statistical sensor fusion. </a:t>
            </a:r>
            <a:r>
              <a:rPr lang="en-US" sz="1600" dirty="0" err="1"/>
              <a:t>Studentlitteratur</a:t>
            </a:r>
            <a:r>
              <a:rPr lang="en-US" sz="1600" dirty="0"/>
              <a:t>, 2010.</a:t>
            </a:r>
          </a:p>
          <a:p>
            <a:pPr marL="0" indent="0">
              <a:buNone/>
            </a:pPr>
            <a:r>
              <a:rPr lang="en-US" sz="1600" dirty="0"/>
              <a:t>[99] Subramanian Ramasamy, Roberto Sabatini, Alessandro Gardi, and Trevor </a:t>
            </a:r>
            <a:r>
              <a:rPr lang="en-US" sz="1600" dirty="0" err="1"/>
              <a:t>Kistan</a:t>
            </a:r>
            <a:r>
              <a:rPr lang="en-US" sz="1600" dirty="0"/>
              <a:t>. </a:t>
            </a:r>
          </a:p>
          <a:p>
            <a:pPr marL="0" indent="0">
              <a:buNone/>
            </a:pPr>
            <a:r>
              <a:rPr lang="en-US" sz="1600" dirty="0"/>
              <a:t>       Next generation  fight management system for real-time trajectory based </a:t>
            </a:r>
          </a:p>
          <a:p>
            <a:pPr marL="0" indent="0">
              <a:buNone/>
            </a:pPr>
            <a:r>
              <a:rPr lang="en-US" sz="1600" dirty="0"/>
              <a:t>       operations. Applied Mechanics and Materials, 629:344-349, 2014.</a:t>
            </a:r>
          </a:p>
          <a:p>
            <a:pPr marL="0" indent="0">
              <a:buNone/>
            </a:pPr>
            <a:r>
              <a:rPr lang="en-US" sz="1600" dirty="0"/>
              <a:t>[100] </a:t>
            </a:r>
            <a:r>
              <a:rPr lang="en-US" sz="1600" dirty="0" err="1"/>
              <a:t>Yuriy</a:t>
            </a:r>
            <a:r>
              <a:rPr lang="en-US" sz="1600" dirty="0"/>
              <a:t> </a:t>
            </a:r>
            <a:r>
              <a:rPr lang="en-US" sz="1600" dirty="0" err="1"/>
              <a:t>Chynchenko</a:t>
            </a:r>
            <a:r>
              <a:rPr lang="en-US" sz="1600" dirty="0"/>
              <a:t>, Tatyana </a:t>
            </a:r>
            <a:r>
              <a:rPr lang="en-US" sz="1600" dirty="0" err="1"/>
              <a:t>Shmelova</a:t>
            </a:r>
            <a:r>
              <a:rPr lang="en-US" sz="1600" dirty="0"/>
              <a:t>, and Oksana </a:t>
            </a:r>
            <a:r>
              <a:rPr lang="en-US" sz="1600" dirty="0" err="1"/>
              <a:t>Chynchenko</a:t>
            </a:r>
            <a:r>
              <a:rPr lang="en-US" sz="1600" dirty="0"/>
              <a:t>. Remotely </a:t>
            </a:r>
          </a:p>
          <a:p>
            <a:pPr marL="0" indent="0">
              <a:buNone/>
            </a:pPr>
            <a:r>
              <a:rPr lang="en-US" sz="1600" dirty="0"/>
              <a:t>	 piloted aircraft systems operations under uncertainty conditions. Proceedings of </a:t>
            </a:r>
          </a:p>
          <a:p>
            <a:pPr marL="0" indent="0">
              <a:buNone/>
            </a:pPr>
            <a:r>
              <a:rPr lang="en-US" sz="1600" dirty="0"/>
              <a:t>	 the National Aviation University, 1(1):18-22, 2016.</a:t>
            </a:r>
          </a:p>
          <a:p>
            <a:pPr marL="0" indent="0">
              <a:buNone/>
            </a:pPr>
            <a:r>
              <a:rPr lang="en-US" sz="1600" dirty="0"/>
              <a:t>[101] T </a:t>
            </a:r>
            <a:r>
              <a:rPr lang="en-US" sz="1600" dirty="0" err="1"/>
              <a:t>Shmelova</a:t>
            </a:r>
            <a:r>
              <a:rPr lang="en-US" sz="1600" dirty="0"/>
              <a:t>, D </a:t>
            </a:r>
            <a:r>
              <a:rPr lang="en-US" sz="1600" dirty="0" err="1"/>
              <a:t>Bondarev</a:t>
            </a:r>
            <a:r>
              <a:rPr lang="en-US" sz="1600" dirty="0"/>
              <a:t>, and Y </a:t>
            </a:r>
            <a:r>
              <a:rPr lang="en-US" sz="1600" dirty="0" err="1"/>
              <a:t>Znakovska</a:t>
            </a:r>
            <a:r>
              <a:rPr lang="en-US" sz="1600" dirty="0"/>
              <a:t>. Modeling of the decision making by </a:t>
            </a:r>
          </a:p>
          <a:p>
            <a:pPr marL="0" indent="0">
              <a:buNone/>
            </a:pPr>
            <a:r>
              <a:rPr lang="en-US" sz="1600" dirty="0"/>
              <a:t>	 UAS operator in emergency situations. In Methods and Systems of Navigation </a:t>
            </a:r>
          </a:p>
          <a:p>
            <a:pPr marL="0" indent="0">
              <a:buNone/>
            </a:pPr>
            <a:r>
              <a:rPr lang="en-US" sz="1600" dirty="0"/>
              <a:t>	 and Motion Control (MSNMC), 2016 4th International Conference on, volume 1, </a:t>
            </a:r>
          </a:p>
          <a:p>
            <a:pPr marL="0" indent="0">
              <a:buNone/>
            </a:pPr>
            <a:r>
              <a:rPr lang="en-US" sz="1600" dirty="0"/>
              <a:t>	 pages 31-34. IEEE, 2016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72294" y="357810"/>
            <a:ext cx="2644643" cy="234110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14025" y="1281205"/>
            <a:ext cx="1880432" cy="163602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67786" y="1281205"/>
            <a:ext cx="1805176" cy="1586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9778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Navigation (5.3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167] Roberto Sabatini, Celia </a:t>
            </a:r>
            <a:r>
              <a:rPr lang="en-US" sz="1600" dirty="0" err="1"/>
              <a:t>Bartel</a:t>
            </a:r>
            <a:r>
              <a:rPr lang="en-US" sz="1600" dirty="0"/>
              <a:t>, Anish </a:t>
            </a:r>
            <a:r>
              <a:rPr lang="en-US" sz="1600" dirty="0" err="1"/>
              <a:t>Kaharkar</a:t>
            </a:r>
            <a:r>
              <a:rPr lang="en-US" sz="1600" dirty="0"/>
              <a:t>, </a:t>
            </a:r>
            <a:r>
              <a:rPr lang="en-US" sz="1600" dirty="0" err="1"/>
              <a:t>Tesheen</a:t>
            </a:r>
            <a:r>
              <a:rPr lang="en-US" sz="1600" dirty="0"/>
              <a:t> </a:t>
            </a:r>
            <a:r>
              <a:rPr lang="en-US" sz="1600" dirty="0" err="1"/>
              <a:t>Shaid</a:t>
            </a:r>
            <a:r>
              <a:rPr lang="en-US" sz="1600" dirty="0"/>
              <a:t>, and </a:t>
            </a:r>
          </a:p>
          <a:p>
            <a:pPr marL="0" indent="0">
              <a:buNone/>
            </a:pPr>
            <a:r>
              <a:rPr lang="en-US" sz="1600" dirty="0"/>
              <a:t>	 Subramanian Ramasamy. Navigation and guidance system architectures for </a:t>
            </a:r>
          </a:p>
          <a:p>
            <a:pPr marL="0" indent="0">
              <a:buNone/>
            </a:pPr>
            <a:r>
              <a:rPr lang="en-US" sz="1600" dirty="0"/>
              <a:t>	 small unmanned aircraft applications. International Journal of Mechanical, </a:t>
            </a:r>
          </a:p>
          <a:p>
            <a:pPr marL="0" indent="0">
              <a:buNone/>
            </a:pPr>
            <a:r>
              <a:rPr lang="en-US" sz="1600" dirty="0"/>
              <a:t>	 Industrial Science and Engineering, 8(4):733-752, 2014.</a:t>
            </a:r>
          </a:p>
          <a:p>
            <a:pPr marL="0" indent="0">
              <a:buNone/>
            </a:pPr>
            <a:r>
              <a:rPr lang="en-US" sz="1600" dirty="0"/>
              <a:t>[168] Roberto Sabatini, Alessandro Gardi, and M Richardson. Lidar obstacle warning </a:t>
            </a:r>
          </a:p>
          <a:p>
            <a:pPr marL="0" indent="0">
              <a:buNone/>
            </a:pPr>
            <a:r>
              <a:rPr lang="en-US" sz="1600" dirty="0"/>
              <a:t>	 and avoidance system for unmanned aircraft. International Journal of </a:t>
            </a:r>
          </a:p>
          <a:p>
            <a:pPr marL="0" indent="0">
              <a:buNone/>
            </a:pPr>
            <a:r>
              <a:rPr lang="en-US" sz="1600" dirty="0"/>
              <a:t>	 Mechanical, Aerospace, Industrial and Mechatronics Engineering, 718-729,2014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2397" y="1371287"/>
            <a:ext cx="4219662" cy="227852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25833" y="1371287"/>
            <a:ext cx="3188325" cy="2314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387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Reach Set Estimation (5.4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108] Steven M </a:t>
            </a:r>
            <a:r>
              <a:rPr lang="en-US" sz="1600" dirty="0" err="1"/>
              <a:t>LaValle</a:t>
            </a:r>
            <a:r>
              <a:rPr lang="en-US" sz="1600" dirty="0"/>
              <a:t>, Michael S </a:t>
            </a:r>
            <a:r>
              <a:rPr lang="en-US" sz="1600" dirty="0" err="1"/>
              <a:t>Branicky</a:t>
            </a:r>
            <a:r>
              <a:rPr lang="en-US" sz="1600" dirty="0"/>
              <a:t>, and Stephen R </a:t>
            </a:r>
            <a:r>
              <a:rPr lang="en-US" sz="1600" dirty="0" err="1"/>
              <a:t>Lindemann</a:t>
            </a:r>
            <a:r>
              <a:rPr lang="en-US" sz="1600" dirty="0"/>
              <a:t>. On the </a:t>
            </a:r>
          </a:p>
          <a:p>
            <a:pPr marL="0" indent="0">
              <a:buNone/>
            </a:pPr>
            <a:r>
              <a:rPr lang="en-US" sz="1600" dirty="0"/>
              <a:t>	 relationship between classical grid search and probabilistic roadmaps. The </a:t>
            </a:r>
          </a:p>
          <a:p>
            <a:pPr marL="0" indent="0">
              <a:buNone/>
            </a:pPr>
            <a:r>
              <a:rPr lang="en-US" sz="1600" dirty="0"/>
              <a:t>	 International Journal of Robotics Research, 23(7-8):673-692, 2004. </a:t>
            </a:r>
          </a:p>
          <a:p>
            <a:pPr marL="0" indent="0">
              <a:buNone/>
            </a:pPr>
            <a:r>
              <a:rPr lang="en-US" sz="1600" dirty="0"/>
              <a:t>[109] Ira M </a:t>
            </a:r>
            <a:r>
              <a:rPr lang="en-US" sz="1600" dirty="0" err="1"/>
              <a:t>Gessel</a:t>
            </a:r>
            <a:r>
              <a:rPr lang="en-US" sz="1600" dirty="0"/>
              <a:t>. A probabilistic method for lattice path enumeration. Journal of </a:t>
            </a:r>
          </a:p>
          <a:p>
            <a:pPr marL="0" indent="0">
              <a:buNone/>
            </a:pPr>
            <a:r>
              <a:rPr lang="en-US" sz="1600" dirty="0"/>
              <a:t>	 statistical planning and inference, 14(1):49-58, 1986.</a:t>
            </a:r>
          </a:p>
          <a:p>
            <a:pPr marL="0" indent="0">
              <a:buNone/>
            </a:pPr>
            <a:r>
              <a:rPr lang="en-US" sz="1600" dirty="0"/>
              <a:t>[110] </a:t>
            </a:r>
            <a:r>
              <a:rPr lang="en-US" sz="1600" dirty="0" err="1"/>
              <a:t>Floriana</a:t>
            </a:r>
            <a:r>
              <a:rPr lang="en-US" sz="1600" dirty="0"/>
              <a:t> Esposito, Donato </a:t>
            </a:r>
            <a:r>
              <a:rPr lang="en-US" sz="1600" dirty="0" err="1"/>
              <a:t>Malerba</a:t>
            </a:r>
            <a:r>
              <a:rPr lang="en-US" sz="1600" dirty="0"/>
              <a:t>, Giovanni Semeraro, and J Kay. A </a:t>
            </a:r>
          </a:p>
          <a:p>
            <a:pPr marL="0" indent="0">
              <a:buNone/>
            </a:pPr>
            <a:r>
              <a:rPr lang="en-US" sz="1600" dirty="0"/>
              <a:t>	 comparative analysis of methods for pruning decision trees. IEEE transactions </a:t>
            </a:r>
          </a:p>
          <a:p>
            <a:pPr marL="0" indent="0">
              <a:buNone/>
            </a:pPr>
            <a:r>
              <a:rPr lang="en-US" sz="1600" dirty="0"/>
              <a:t>	 on pattern analysis and machine intelligence, 19(5):476{491, 1997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2087" t="2939" r="2201" b="19244"/>
          <a:stretch/>
        </p:blipFill>
        <p:spPr>
          <a:xfrm>
            <a:off x="514579" y="1350629"/>
            <a:ext cx="3973532" cy="212518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/>
          <a:srcRect l="12493" t="2939" r="2201" b="18554"/>
          <a:stretch/>
        </p:blipFill>
        <p:spPr>
          <a:xfrm>
            <a:off x="4597164" y="1350707"/>
            <a:ext cx="3919773" cy="2125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3651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964236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Proposed Framework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verview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voidance Ru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UTM Implement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ule Engi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8269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irspace classification (2.2)</a:t>
            </a:r>
            <a:br>
              <a:rPr lang="en-US" dirty="0"/>
            </a:br>
            <a:r>
              <a:rPr lang="en-US" dirty="0"/>
              <a:t>	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pic>
        <p:nvPicPr>
          <p:cNvPr id="17" name="Picture 2" descr="http://www.ivao.cz/downloads/LKCT_Flyin/rozdeleni_vzd_prostoru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340" y="1193483"/>
            <a:ext cx="7832468" cy="5611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70208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posed framework Overvie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  <p:grpSp>
        <p:nvGrpSpPr>
          <p:cNvPr id="37" name="Group 36"/>
          <p:cNvGrpSpPr/>
          <p:nvPr/>
        </p:nvGrpSpPr>
        <p:grpSpPr>
          <a:xfrm>
            <a:off x="73692" y="1002624"/>
            <a:ext cx="8377756" cy="5514542"/>
            <a:chOff x="73692" y="1002624"/>
            <a:chExt cx="8377756" cy="5514542"/>
          </a:xfrm>
        </p:grpSpPr>
        <p:sp>
          <p:nvSpPr>
            <p:cNvPr id="14" name="Rectangle: Rounded Corners 13"/>
            <p:cNvSpPr/>
            <p:nvPr/>
          </p:nvSpPr>
          <p:spPr>
            <a:xfrm>
              <a:off x="530353" y="4113634"/>
              <a:ext cx="5338012" cy="1940957"/>
            </a:xfrm>
            <a:prstGeom prst="round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b="1" dirty="0">
                  <a:solidFill>
                    <a:schemeClr val="accent2"/>
                  </a:solidFill>
                </a:rPr>
                <a:t>Avoidance Run</a:t>
              </a: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18" name="Rectangle: Rounded Corners 17"/>
            <p:cNvSpPr/>
            <p:nvPr/>
          </p:nvSpPr>
          <p:spPr>
            <a:xfrm>
              <a:off x="753243" y="4563133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Grid</a:t>
              </a:r>
            </a:p>
          </p:txBody>
        </p:sp>
        <p:sp>
          <p:nvSpPr>
            <p:cNvPr id="19" name="Rectangle: Rounded Corners 18"/>
            <p:cNvSpPr/>
            <p:nvPr/>
          </p:nvSpPr>
          <p:spPr>
            <a:xfrm>
              <a:off x="753243" y="5254682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Reach Set</a:t>
              </a:r>
            </a:p>
          </p:txBody>
        </p:sp>
        <p:sp>
          <p:nvSpPr>
            <p:cNvPr id="20" name="Rectangle: Rounded Corners 19"/>
            <p:cNvSpPr/>
            <p:nvPr/>
          </p:nvSpPr>
          <p:spPr>
            <a:xfrm>
              <a:off x="3788779" y="4721773"/>
              <a:ext cx="1979271" cy="715089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Trajectory</a:t>
              </a:r>
            </a:p>
          </p:txBody>
        </p:sp>
        <p:sp>
          <p:nvSpPr>
            <p:cNvPr id="21" name="Arrow: Right 20"/>
            <p:cNvSpPr/>
            <p:nvPr/>
          </p:nvSpPr>
          <p:spPr>
            <a:xfrm>
              <a:off x="2745170" y="4834762"/>
              <a:ext cx="1043609" cy="489109"/>
            </a:xfrm>
            <a:prstGeom prst="rightArrow">
              <a:avLst/>
            </a:prstGeom>
            <a:solidFill>
              <a:schemeClr val="tx2"/>
            </a:solidFill>
            <a:ln w="127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sz="1000" dirty="0">
                <a:solidFill>
                  <a:schemeClr val="accent2"/>
                </a:solidFill>
              </a:endParaRP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5999544" y="1002624"/>
              <a:ext cx="2451904" cy="5033486"/>
              <a:chOff x="5999544" y="1002624"/>
              <a:chExt cx="2451904" cy="5033486"/>
            </a:xfrm>
          </p:grpSpPr>
          <p:grpSp>
            <p:nvGrpSpPr>
              <p:cNvPr id="13" name="Group 12"/>
              <p:cNvGrpSpPr/>
              <p:nvPr/>
            </p:nvGrpSpPr>
            <p:grpSpPr>
              <a:xfrm>
                <a:off x="5999544" y="1002624"/>
                <a:ext cx="2451904" cy="5033486"/>
                <a:chOff x="5999544" y="1004833"/>
                <a:chExt cx="2451904" cy="4537027"/>
              </a:xfrm>
            </p:grpSpPr>
            <p:sp>
              <p:nvSpPr>
                <p:cNvPr id="6" name="Rectangle: Rounded Corners 5"/>
                <p:cNvSpPr/>
                <p:nvPr/>
              </p:nvSpPr>
              <p:spPr>
                <a:xfrm>
                  <a:off x="5999544" y="1004833"/>
                  <a:ext cx="2451904" cy="4537027"/>
                </a:xfrm>
                <a:prstGeom prst="roundRect">
                  <a:avLst/>
                </a:prstGeom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ln>
                        <a:solidFill>
                          <a:srgbClr val="00B050"/>
                        </a:solidFill>
                      </a:ln>
                      <a:solidFill>
                        <a:srgbClr val="00B050"/>
                      </a:solidFill>
                    </a:rPr>
                    <a:t>Data Fusion</a:t>
                  </a: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</p:txBody>
            </p:sp>
            <p:sp>
              <p:nvSpPr>
                <p:cNvPr id="7" name="Cylinder 6"/>
                <p:cNvSpPr/>
                <p:nvPr/>
              </p:nvSpPr>
              <p:spPr>
                <a:xfrm>
                  <a:off x="6462531" y="4094106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Map</a:t>
                  </a:r>
                </a:p>
              </p:txBody>
            </p:sp>
            <p:sp>
              <p:nvSpPr>
                <p:cNvPr id="8" name="Cylinder 7"/>
                <p:cNvSpPr/>
                <p:nvPr/>
              </p:nvSpPr>
              <p:spPr>
                <a:xfrm>
                  <a:off x="6462531" y="3506890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Directives</a:t>
                  </a:r>
                </a:p>
              </p:txBody>
            </p:sp>
            <p:sp>
              <p:nvSpPr>
                <p:cNvPr id="9" name="Cylinder 8"/>
                <p:cNvSpPr/>
                <p:nvPr/>
              </p:nvSpPr>
              <p:spPr>
                <a:xfrm>
                  <a:off x="6462531" y="2919674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Weather</a:t>
                  </a:r>
                </a:p>
              </p:txBody>
            </p:sp>
            <p:sp>
              <p:nvSpPr>
                <p:cNvPr id="10" name="Cylinder 9"/>
                <p:cNvSpPr/>
                <p:nvPr/>
              </p:nvSpPr>
              <p:spPr>
                <a:xfrm>
                  <a:off x="6462531" y="2332459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LiDAR</a:t>
                  </a:r>
                </a:p>
              </p:txBody>
            </p:sp>
            <p:sp>
              <p:nvSpPr>
                <p:cNvPr id="11" name="Cylinder 10"/>
                <p:cNvSpPr/>
                <p:nvPr/>
              </p:nvSpPr>
              <p:spPr>
                <a:xfrm>
                  <a:off x="6456203" y="1745243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ADS-B</a:t>
                  </a:r>
                </a:p>
              </p:txBody>
            </p:sp>
            <p:sp>
              <p:nvSpPr>
                <p:cNvPr id="12" name="Cylinder 11"/>
                <p:cNvSpPr/>
                <p:nvPr/>
              </p:nvSpPr>
              <p:spPr>
                <a:xfrm>
                  <a:off x="6449875" y="4681323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Restrictions</a:t>
                  </a:r>
                </a:p>
              </p:txBody>
            </p:sp>
          </p:grpSp>
          <p:pic>
            <p:nvPicPr>
              <p:cNvPr id="22" name="Graphic 21" descr="Send"/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7722437" y="1307730"/>
                <a:ext cx="544704" cy="544704"/>
              </a:xfrm>
              <a:prstGeom prst="rect">
                <a:avLst/>
              </a:prstGeom>
            </p:spPr>
          </p:pic>
        </p:grpSp>
        <p:grpSp>
          <p:nvGrpSpPr>
            <p:cNvPr id="34" name="Group 33"/>
            <p:cNvGrpSpPr/>
            <p:nvPr/>
          </p:nvGrpSpPr>
          <p:grpSpPr>
            <a:xfrm>
              <a:off x="530352" y="1046997"/>
              <a:ext cx="5338013" cy="1021556"/>
              <a:chOff x="530352" y="1046997"/>
              <a:chExt cx="5338013" cy="1021556"/>
            </a:xfrm>
          </p:grpSpPr>
          <p:sp>
            <p:nvSpPr>
              <p:cNvPr id="5" name="Rectangle: Rounded Corners 4"/>
              <p:cNvSpPr/>
              <p:nvPr/>
            </p:nvSpPr>
            <p:spPr>
              <a:xfrm>
                <a:off x="530352" y="1046997"/>
                <a:ext cx="5338013" cy="1021556"/>
              </a:xfrm>
              <a:prstGeom prst="roundRect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  <a:p>
                <a:pPr algn="ctr"/>
                <a:r>
                  <a:rPr lang="en-US" dirty="0">
                    <a:ln>
                      <a:solidFill>
                        <a:srgbClr val="00B050"/>
                      </a:solidFill>
                    </a:ln>
                    <a:solidFill>
                      <a:srgbClr val="00B050"/>
                    </a:solidFill>
                  </a:rPr>
                  <a:t>Navigation Loop</a:t>
                </a:r>
              </a:p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</p:txBody>
          </p:sp>
          <p:pic>
            <p:nvPicPr>
              <p:cNvPr id="23" name="Graphic 22" descr="Map compass"/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4856815" y="1104548"/>
                <a:ext cx="914400" cy="914400"/>
              </a:xfrm>
              <a:prstGeom prst="rect">
                <a:avLst/>
              </a:prstGeom>
            </p:spPr>
          </p:pic>
        </p:grpSp>
        <p:grpSp>
          <p:nvGrpSpPr>
            <p:cNvPr id="36" name="Group 35"/>
            <p:cNvGrpSpPr/>
            <p:nvPr/>
          </p:nvGrpSpPr>
          <p:grpSpPr>
            <a:xfrm>
              <a:off x="530353" y="2120615"/>
              <a:ext cx="5338012" cy="1940957"/>
              <a:chOff x="530353" y="2120615"/>
              <a:chExt cx="5338012" cy="1940957"/>
            </a:xfrm>
          </p:grpSpPr>
          <p:sp>
            <p:nvSpPr>
              <p:cNvPr id="15" name="Rectangle: Rounded Corners 14"/>
              <p:cNvSpPr/>
              <p:nvPr/>
            </p:nvSpPr>
            <p:spPr>
              <a:xfrm>
                <a:off x="530353" y="2120615"/>
                <a:ext cx="5338012" cy="1940957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chemeClr val="accent3">
                        <a:lumMod val="75000"/>
                      </a:schemeClr>
                    </a:solidFill>
                  </a:rPr>
                  <a:t>Situation Assessment</a:t>
                </a: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</p:txBody>
          </p:sp>
          <p:sp>
            <p:nvSpPr>
              <p:cNvPr id="24" name="Rectangle: Rounded Corners 23"/>
              <p:cNvSpPr/>
              <p:nvPr/>
            </p:nvSpPr>
            <p:spPr>
              <a:xfrm>
                <a:off x="753242" y="2581949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Events</a:t>
                </a:r>
              </a:p>
            </p:txBody>
          </p:sp>
          <p:sp>
            <p:nvSpPr>
              <p:cNvPr id="25" name="Rectangle: Rounded Corners 24"/>
              <p:cNvSpPr/>
              <p:nvPr/>
            </p:nvSpPr>
            <p:spPr>
              <a:xfrm>
                <a:off x="3557286" y="2588182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Triggers</a:t>
                </a:r>
              </a:p>
            </p:txBody>
          </p:sp>
          <p:sp>
            <p:nvSpPr>
              <p:cNvPr id="26" name="Rectangle: Rounded Corners 25"/>
              <p:cNvSpPr/>
              <p:nvPr/>
            </p:nvSpPr>
            <p:spPr>
              <a:xfrm>
                <a:off x="753241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Directives</a:t>
                </a:r>
              </a:p>
            </p:txBody>
          </p:sp>
          <p:sp>
            <p:nvSpPr>
              <p:cNvPr id="27" name="Rectangle: Rounded Corners 26"/>
              <p:cNvSpPr/>
              <p:nvPr/>
            </p:nvSpPr>
            <p:spPr>
              <a:xfrm>
                <a:off x="3557285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Changes</a:t>
                </a:r>
              </a:p>
            </p:txBody>
          </p:sp>
        </p:grpSp>
        <p:sp>
          <p:nvSpPr>
            <p:cNvPr id="28" name="Arrow: Curved Right 27"/>
            <p:cNvSpPr/>
            <p:nvPr/>
          </p:nvSpPr>
          <p:spPr>
            <a:xfrm>
              <a:off x="73692" y="1557775"/>
              <a:ext cx="456661" cy="3693319"/>
            </a:xfrm>
            <a:prstGeom prst="curvedRigh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 rot="16200000">
              <a:off x="-546935" y="3152641"/>
              <a:ext cx="168930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Goal Waypoint</a:t>
              </a:r>
            </a:p>
          </p:txBody>
        </p:sp>
        <p:sp>
          <p:nvSpPr>
            <p:cNvPr id="31" name="Arrow: Curved Left 30"/>
            <p:cNvSpPr/>
            <p:nvPr/>
          </p:nvSpPr>
          <p:spPr>
            <a:xfrm rot="5400000">
              <a:off x="4139545" y="3331225"/>
              <a:ext cx="462573" cy="5909310"/>
            </a:xfrm>
            <a:prstGeom prst="curvedLef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3582035" y="6127008"/>
              <a:ext cx="144142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Probabiliti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8143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model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4">
              <a:lumMod val="85000"/>
            </a:schemeClr>
          </a:solidFill>
          <a:ln>
            <a:solidFill>
              <a:schemeClr val="accent4">
                <a:lumMod val="8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Rectangular Callout 24"/>
          <p:cNvSpPr/>
          <p:nvPr/>
        </p:nvSpPr>
        <p:spPr>
          <a:xfrm>
            <a:off x="514578" y="3155461"/>
            <a:ext cx="4661429" cy="1618572"/>
          </a:xfrm>
          <a:prstGeom prst="wedgeRectCallout">
            <a:avLst>
              <a:gd name="adj1" fmla="val -30053"/>
              <a:gd name="adj2" fmla="val 55340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498" y="3252718"/>
            <a:ext cx="4478357" cy="1393579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920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model:</a:t>
            </a:r>
            <a:br>
              <a:rPr lang="en-US" dirty="0"/>
            </a:br>
            <a:r>
              <a:rPr lang="en-US" dirty="0"/>
              <a:t>	3D unicycle (6.2.2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indent="0">
                  <a:buNone/>
                </a:pPr>
                <a:r>
                  <a:rPr lang="en-US" dirty="0"/>
                  <a:t>The </a:t>
                </a:r>
                <a:r>
                  <a:rPr lang="en-US" b="1" i="1" u="sng" dirty="0"/>
                  <a:t>UAS model</a:t>
                </a:r>
                <a:r>
                  <a:rPr lang="en-US" dirty="0"/>
                  <a:t> is defined like follows: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i="1" dirty="0"/>
              </a:p>
              <a:p>
                <a:pPr marL="0" indent="0">
                  <a:buNone/>
                </a:pPr>
                <a:endParaRPr lang="en-US" i="1" dirty="0"/>
              </a:p>
              <a:p>
                <a:pPr marL="0" indent="0">
                  <a:buNone/>
                </a:pPr>
                <a:r>
                  <a:rPr lang="en-US" i="1" dirty="0"/>
                  <a:t>The </a:t>
                </a:r>
                <a:r>
                  <a:rPr lang="en-US" b="1" dirty="0"/>
                  <a:t>state</a:t>
                </a:r>
                <a:r>
                  <a:rPr lang="en-US" dirty="0"/>
                  <a:t> is </a:t>
                </a:r>
                <a:r>
                  <a:rPr lang="en-US" i="1" u="sng" dirty="0"/>
                  <a:t>position</a:t>
                </a:r>
                <a:r>
                  <a:rPr lang="en-US" dirty="0"/>
                  <a:t> in GCF (x,y,z) and orientation in GCF (roll, pitch yaw).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dirty="0"/>
                  <a:t>The </a:t>
                </a:r>
                <a:r>
                  <a:rPr lang="en-US" b="1" i="1" u="sng" dirty="0"/>
                  <a:t>input</a:t>
                </a:r>
                <a:r>
                  <a:rPr lang="en-US" dirty="0"/>
                  <a:t> is </a:t>
                </a:r>
                <a:r>
                  <a:rPr lang="en-US" i="1" u="sng" dirty="0"/>
                  <a:t>linear velocity</a:t>
                </a:r>
                <a:r>
                  <a:rPr lang="en-US" i="1" dirty="0"/>
                  <a:t> </a:t>
                </a:r>
                <a:r>
                  <a:rPr lang="en-US" dirty="0"/>
                  <a:t>(v) and </a:t>
                </a:r>
                <a:r>
                  <a:rPr lang="en-US" i="1" u="sng" dirty="0"/>
                  <a:t>angular speed </a:t>
                </a:r>
                <a:r>
                  <a:rPr lang="en-US" dirty="0"/>
                  <a:t>in LCF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𝑟𝑜𝑙𝑙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𝑝𝑖𝑡𝑐h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, 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𝑦𝑎𝑤</m:t>
                        </m:r>
                      </m:sub>
                    </m:sSub>
                  </m:oMath>
                </a14:m>
                <a:r>
                  <a:rPr lang="en-US" dirty="0"/>
                  <a:t>)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606" t="-75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75B2ED7-4D7F-4CF2-AC3E-58B64C09D59B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983428" y="1498706"/>
            <a:ext cx="7177143" cy="3251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2329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 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5" name="Group 14"/>
          <p:cNvGrpSpPr/>
          <p:nvPr/>
        </p:nvGrpSpPr>
        <p:grpSpPr>
          <a:xfrm>
            <a:off x="2399251" y="1409350"/>
            <a:ext cx="4305664" cy="3364683"/>
            <a:chOff x="2399251" y="1409350"/>
            <a:chExt cx="4305664" cy="3364683"/>
          </a:xfrm>
          <a:solidFill>
            <a:schemeClr val="accent3"/>
          </a:solidFill>
        </p:grpSpPr>
        <p:sp>
          <p:nvSpPr>
            <p:cNvPr id="3" name="Rectangular Callout 2"/>
            <p:cNvSpPr/>
            <p:nvPr/>
          </p:nvSpPr>
          <p:spPr>
            <a:xfrm>
              <a:off x="2399251" y="1409350"/>
              <a:ext cx="4305664" cy="3364683"/>
            </a:xfrm>
            <a:prstGeom prst="wedgeRectCallout">
              <a:avLst>
                <a:gd name="adj1" fmla="val -894"/>
                <a:gd name="adj2" fmla="val 53267"/>
              </a:avLst>
            </a:prstGeom>
            <a:grpFill/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dirty="0"/>
            </a:p>
          </p:txBody>
        </p:sp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536982" y="1503849"/>
              <a:ext cx="3979365" cy="3077241"/>
            </a:xfrm>
            <a:prstGeom prst="rect">
              <a:avLst/>
            </a:prstGeom>
            <a:grpFill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</p:pic>
      </p:grp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2114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:</a:t>
            </a:r>
            <a:br>
              <a:rPr lang="en-US" dirty="0"/>
            </a:br>
            <a:r>
              <a:rPr lang="en-US" dirty="0"/>
              <a:t>	Movement set (6.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 </a:t>
            </a:r>
            <a:r>
              <a:rPr lang="en-US" b="1" i="1" u="sng" dirty="0"/>
              <a:t>movement set</a:t>
            </a:r>
            <a:r>
              <a:rPr lang="en-US" dirty="0"/>
              <a:t> have been implemented containing movements lasting 1s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movement execution</a:t>
            </a:r>
            <a:r>
              <a:rPr lang="en-US" dirty="0"/>
              <a:t>, with </a:t>
            </a:r>
            <a:r>
              <a:rPr lang="en-US" i="1" u="sng" dirty="0"/>
              <a:t>initial state</a:t>
            </a:r>
            <a:r>
              <a:rPr lang="en-US" dirty="0"/>
              <a:t> represented as a red plane, looks like follow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92197" y="3057228"/>
            <a:ext cx="3548543" cy="345996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CB90880-D061-4319-86B2-89A2FA206488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453207" y="1745927"/>
            <a:ext cx="8184381" cy="758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1696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:</a:t>
            </a:r>
            <a:br>
              <a:rPr lang="en-US" dirty="0"/>
            </a:br>
            <a:r>
              <a:rPr lang="en-US" dirty="0"/>
              <a:t>	Trajectory (6.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 </a:t>
            </a:r>
            <a:r>
              <a:rPr lang="en-US" b="1" i="1" u="sng" dirty="0"/>
              <a:t>buffer</a:t>
            </a:r>
            <a:r>
              <a:rPr lang="en-US" dirty="0"/>
              <a:t> is an </a:t>
            </a:r>
            <a:r>
              <a:rPr lang="en-US" i="1" u="sng" dirty="0"/>
              <a:t>ordered list of movements</a:t>
            </a:r>
            <a:r>
              <a:rPr lang="en-US" dirty="0"/>
              <a:t> to be executed by UAS: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trajectory</a:t>
            </a:r>
            <a:r>
              <a:rPr lang="en-US" dirty="0"/>
              <a:t> for some </a:t>
            </a:r>
            <a:r>
              <a:rPr lang="en-US" i="1" u="sng" dirty="0"/>
              <a:t>initial state(0)</a:t>
            </a:r>
            <a:r>
              <a:rPr lang="en-US" dirty="0"/>
              <a:t> and </a:t>
            </a:r>
            <a:r>
              <a:rPr lang="en-US" i="1" u="sng" dirty="0"/>
              <a:t>buffer</a:t>
            </a:r>
            <a:r>
              <a:rPr lang="en-US" dirty="0"/>
              <a:t> is given as: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FBACFFC-5CC6-478D-B961-94C7A56E772B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285224" y="1682348"/>
            <a:ext cx="8540952" cy="75885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3AF070D-947B-435E-9685-96DB5C0AC439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218451" y="3323152"/>
            <a:ext cx="8304762" cy="3053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0681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130804" y="948980"/>
            <a:ext cx="6386134" cy="3691778"/>
          </a:xfrm>
          <a:prstGeom prst="wedgeRectCallout">
            <a:avLst>
              <a:gd name="adj1" fmla="val 33709"/>
              <a:gd name="adj2" fmla="val 5552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9" r="7530" b="6587"/>
          <a:stretch/>
        </p:blipFill>
        <p:spPr>
          <a:xfrm>
            <a:off x="2247882" y="1012164"/>
            <a:ext cx="6157520" cy="3522558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393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Space segmentation – Avoidance Grid (6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n intermediate operational space is segmented into </a:t>
            </a:r>
            <a:r>
              <a:rPr lang="en-US" b="1" i="1" u="sng" dirty="0"/>
              <a:t>avoidance grid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One </a:t>
            </a:r>
            <a:r>
              <a:rPr lang="en-US" b="1" i="1" u="sng" dirty="0"/>
              <a:t>cell space portion</a:t>
            </a:r>
            <a:r>
              <a:rPr lang="en-US" dirty="0"/>
              <a:t> is bounded by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Refer to (def. 11,1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6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AD3D516-004B-4E58-A3F5-B41CBB0612D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399048" y="1566988"/>
            <a:ext cx="8345904" cy="197180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2DFBAA8-D03B-4A1B-90FF-6435EBAD5AE3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130557" y="4122445"/>
            <a:ext cx="8850285" cy="2140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6909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The RSA defini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In segmented discrete operational space represented as </a:t>
            </a:r>
            <a:r>
              <a:rPr lang="en-US" i="1" u="sng" dirty="0"/>
              <a:t>avoidance grid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reach set approximation</a:t>
            </a:r>
            <a:r>
              <a:rPr lang="en-US" dirty="0"/>
              <a:t> is a </a:t>
            </a:r>
            <a:r>
              <a:rPr lang="en-US" i="1" u="sng" dirty="0"/>
              <a:t>set of trajectories</a:t>
            </a:r>
            <a:r>
              <a:rPr lang="en-US" dirty="0"/>
              <a:t> with common origin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7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68789" y="1536792"/>
            <a:ext cx="3404085" cy="316285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401A0E1-B46D-4FF8-8F8A-A83839285182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318096" y="5160762"/>
            <a:ext cx="8825904" cy="1339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4210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Trajectory properties (6.4.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40C2282-144C-4B56-BE49-B44B2D7AE91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332" t="17143" r="36317" b="19343"/>
          <a:stretch/>
        </p:blipFill>
        <p:spPr>
          <a:xfrm>
            <a:off x="530352" y="1341704"/>
            <a:ext cx="4041648" cy="434262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27CB580-DF67-4801-81B7-8D9CE797822B}"/>
              </a:ext>
            </a:extLst>
          </p:cNvPr>
          <p:cNvSpPr txBox="1"/>
          <p:nvPr/>
        </p:nvSpPr>
        <p:spPr>
          <a:xfrm>
            <a:off x="530352" y="5800276"/>
            <a:ext cx="382027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Coverage – the trajectory footpri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 6 trajectories 3 unique footprint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D94DA08-25D3-41E1-B237-3B57E03B283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9331" t="17772" r="36790" b="20811"/>
          <a:stretch/>
        </p:blipFill>
        <p:spPr>
          <a:xfrm>
            <a:off x="4572000" y="1341703"/>
            <a:ext cx="4041648" cy="424445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2900E974-56BC-43E4-AB72-EF912235C09C}"/>
              </a:ext>
            </a:extLst>
          </p:cNvPr>
          <p:cNvSpPr txBox="1"/>
          <p:nvPr/>
        </p:nvSpPr>
        <p:spPr>
          <a:xfrm>
            <a:off x="4572000" y="5753191"/>
            <a:ext cx="42669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Turn ratio – count of turning mov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 Try to minimize turning in reach set !</a:t>
            </a:r>
          </a:p>
        </p:txBody>
      </p:sp>
    </p:spTree>
    <p:extLst>
      <p:ext uri="{BB962C8B-B14F-4D97-AF65-F5344CB8AC3E}">
        <p14:creationId xmlns:p14="http://schemas.microsoft.com/office/powerpoint/2010/main" val="2021773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irspace restrictions (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740077" y="1428374"/>
            <a:ext cx="7588146" cy="4346608"/>
            <a:chOff x="514350" y="2036730"/>
            <a:chExt cx="7588146" cy="434660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14350" y="2036730"/>
              <a:ext cx="7588146" cy="4346608"/>
            </a:xfrm>
            <a:prstGeom prst="rect">
              <a:avLst/>
            </a:prstGeom>
          </p:spPr>
        </p:pic>
        <p:sp>
          <p:nvSpPr>
            <p:cNvPr id="7" name="Right Arrow 5"/>
            <p:cNvSpPr/>
            <p:nvPr/>
          </p:nvSpPr>
          <p:spPr>
            <a:xfrm rot="1896633">
              <a:off x="728132" y="2413000"/>
              <a:ext cx="1286933" cy="484632"/>
            </a:xfrm>
            <a:prstGeom prst="rightArrow">
              <a:avLst/>
            </a:prstGeom>
            <a:solidFill>
              <a:srgbClr val="7F7F7F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Airport</a:t>
              </a:r>
            </a:p>
          </p:txBody>
        </p:sp>
        <p:sp>
          <p:nvSpPr>
            <p:cNvPr id="8" name="Right Arrow 6"/>
            <p:cNvSpPr/>
            <p:nvPr/>
          </p:nvSpPr>
          <p:spPr>
            <a:xfrm rot="18457983">
              <a:off x="-22784" y="4118488"/>
              <a:ext cx="1667695" cy="484632"/>
            </a:xfrm>
            <a:prstGeom prst="rightArrow">
              <a:avLst/>
            </a:prstGeom>
            <a:solidFill>
              <a:srgbClr val="7030A0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ontrol zone</a:t>
              </a:r>
            </a:p>
          </p:txBody>
        </p:sp>
        <p:sp>
          <p:nvSpPr>
            <p:cNvPr id="9" name="Right Arrow 7"/>
            <p:cNvSpPr/>
            <p:nvPr/>
          </p:nvSpPr>
          <p:spPr>
            <a:xfrm rot="21181533">
              <a:off x="594215" y="5779317"/>
              <a:ext cx="1974100" cy="484632"/>
            </a:xfrm>
            <a:prstGeom prst="rightArrow">
              <a:avLst/>
            </a:prstGeom>
            <a:solidFill>
              <a:schemeClr val="accent2"/>
            </a:solidFill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Temporary area</a:t>
              </a: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303294" y="6199725"/>
            <a:ext cx="50257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chemeClr val="bg2"/>
                </a:solidFill>
              </a:rPr>
              <a:t>*Example of air traffic constraints is taken from Czech national air traffic control portal (http://aisview.rlp.cz/)</a:t>
            </a:r>
          </a:p>
        </p:txBody>
      </p:sp>
    </p:spTree>
    <p:extLst>
      <p:ext uri="{BB962C8B-B14F-4D97-AF65-F5344CB8AC3E}">
        <p14:creationId xmlns:p14="http://schemas.microsoft.com/office/powerpoint/2010/main" val="1066972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C1AB4F-3BDF-4DE5-A237-5BE2B9E77F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Property based approximations (6.4.3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9852A4-3207-4659-963E-B6F76E34C59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48640" y="1193483"/>
            <a:ext cx="8046720" cy="4846320"/>
          </a:xfrm>
        </p:spPr>
        <p:txBody>
          <a:bodyPr/>
          <a:lstStyle/>
          <a:p>
            <a:pPr marL="0" indent="0">
              <a:buNone/>
            </a:pPr>
            <a:r>
              <a:rPr lang="en-US" sz="2800" dirty="0"/>
              <a:t>Get the </a:t>
            </a:r>
          </a:p>
          <a:p>
            <a:pPr marL="0" indent="0">
              <a:buNone/>
            </a:pPr>
            <a:r>
              <a:rPr lang="en-US" sz="2800" dirty="0"/>
              <a:t>	minimal </a:t>
            </a:r>
          </a:p>
          <a:p>
            <a:pPr marL="0" indent="0">
              <a:buNone/>
            </a:pPr>
            <a:r>
              <a:rPr lang="en-US" sz="2800" b="1" i="1" dirty="0"/>
              <a:t>			</a:t>
            </a:r>
            <a:r>
              <a:rPr lang="en-US" sz="2800" b="1" i="1" u="sng" dirty="0"/>
              <a:t>discrete trajectory set</a:t>
            </a:r>
            <a:r>
              <a:rPr lang="en-US" sz="2800" dirty="0"/>
              <a:t> (RSA)</a:t>
            </a:r>
          </a:p>
          <a:p>
            <a:pPr marL="0" indent="0">
              <a:buNone/>
            </a:pPr>
            <a:r>
              <a:rPr lang="en-US" sz="2800" dirty="0"/>
              <a:t>				covering </a:t>
            </a:r>
          </a:p>
          <a:p>
            <a:pPr marL="0" indent="0">
              <a:buNone/>
            </a:pPr>
            <a:r>
              <a:rPr lang="en-US" sz="2800" b="1" i="1" dirty="0"/>
              <a:t>					</a:t>
            </a:r>
            <a:r>
              <a:rPr lang="en-US" sz="2800" b="1" i="1" u="sng" dirty="0"/>
              <a:t>all possible maneuvers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AEB116-10E6-4B17-A772-4A370F8C2CA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EA9F625-CB31-4606-8759-B770ECAB25D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560" t="17062" r="36542" b="18877"/>
          <a:stretch/>
        </p:blipFill>
        <p:spPr>
          <a:xfrm>
            <a:off x="530352" y="3623418"/>
            <a:ext cx="2341548" cy="256373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16D2C8F-137C-4D09-BA62-3517DC5CD80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8470" t="17275" r="36221" b="20586"/>
          <a:stretch/>
        </p:blipFill>
        <p:spPr>
          <a:xfrm>
            <a:off x="6178609" y="3597780"/>
            <a:ext cx="2416751" cy="2486826"/>
          </a:xfrm>
          <a:prstGeom prst="rect">
            <a:avLst/>
          </a:prstGeom>
        </p:spPr>
      </p:pic>
      <p:sp>
        <p:nvSpPr>
          <p:cNvPr id="7" name="Arrow: Right 6">
            <a:extLst>
              <a:ext uri="{FF2B5EF4-FFF2-40B4-BE49-F238E27FC236}">
                <a16:creationId xmlns:a16="http://schemas.microsoft.com/office/drawing/2014/main" id="{F6AB0491-339F-4708-ACA7-F5D3DF8EFF8C}"/>
              </a:ext>
            </a:extLst>
          </p:cNvPr>
          <p:cNvSpPr/>
          <p:nvPr/>
        </p:nvSpPr>
        <p:spPr>
          <a:xfrm>
            <a:off x="3264492" y="4139416"/>
            <a:ext cx="3461047" cy="1283910"/>
          </a:xfrm>
          <a:prstGeom prst="rightArrow">
            <a:avLst/>
          </a:prstGeom>
          <a:solidFill>
            <a:srgbClr val="EB2819"/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Reach set Approximation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Calculation Process (6.4.3)</a:t>
            </a:r>
          </a:p>
        </p:txBody>
      </p:sp>
    </p:spTree>
    <p:extLst>
      <p:ext uri="{BB962C8B-B14F-4D97-AF65-F5344CB8AC3E}">
        <p14:creationId xmlns:p14="http://schemas.microsoft.com/office/powerpoint/2010/main" val="333670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DB0F68-D035-4E89-9822-2D5D584244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Developed Reach set Approximations 1/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B2E788-890C-48AA-AF50-1362D4FBDE7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0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6B106A2-F04E-43B6-B035-EE09FB2184A2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Coverage-maximizing RSA (6.4.4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high coverage rate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intruder/obstacle avoidance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on-controlled airspac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984DC84-4CD6-46D7-957B-FA5D7A07C515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Turn-minimizing RSA 	(6.4.5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high smoothness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avigation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on-controlled airspace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246B281-DFB6-434B-BD59-2AD82C0B606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7010" t="16145" r="18941" b="16366"/>
          <a:stretch/>
        </p:blipFill>
        <p:spPr>
          <a:xfrm>
            <a:off x="1112478" y="1204448"/>
            <a:ext cx="2766843" cy="225938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7C26A45-A12D-40BF-BACA-452150A9A0A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501" t="13654" r="18711" b="15564"/>
          <a:stretch/>
        </p:blipFill>
        <p:spPr>
          <a:xfrm>
            <a:off x="1171200" y="3864189"/>
            <a:ext cx="2649398" cy="2190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9996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DB0F68-D035-4E89-9822-2D5D584244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Developed Reach set Approximations	 2/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B2E788-890C-48AA-AF50-1362D4FBDE7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6B106A2-F04E-43B6-B035-EE09FB2184A2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Combined RSA (6.4.7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TM + CM RSA combination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avoidance/navigation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Controlled airspace in case of </a:t>
            </a:r>
            <a:r>
              <a:rPr lang="en-US" dirty="0"/>
              <a:t>	</a:t>
            </a:r>
            <a:r>
              <a:rPr lang="en-US" i="1" u="sng" dirty="0"/>
              <a:t>Emergency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984DC84-4CD6-46D7-957B-FA5D7A07C515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ACAS-like RSA (6.4.6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ACAS behavior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avigation/UTM Resolutions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Controlled airspace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20BC4FA-A961-4A99-BCD3-662AFC15FC4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4504" t="14286" r="18283" b="15292"/>
          <a:stretch/>
        </p:blipFill>
        <p:spPr>
          <a:xfrm>
            <a:off x="1112478" y="1263952"/>
            <a:ext cx="2766843" cy="213094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91BABDF-65FF-4059-9A14-52B1B1D25AE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7079" t="9252" r="20508" b="14744"/>
          <a:stretch/>
        </p:blipFill>
        <p:spPr>
          <a:xfrm>
            <a:off x="1193595" y="3802427"/>
            <a:ext cx="2604607" cy="2425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8464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pla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514578" y="965508"/>
            <a:ext cx="6020446" cy="3159078"/>
          </a:xfrm>
          <a:prstGeom prst="wedgeRectCallout">
            <a:avLst>
              <a:gd name="adj1" fmla="val 52102"/>
              <a:gd name="adj2" fmla="val 462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08" t="7546" r="51193" b="53210"/>
          <a:stretch/>
        </p:blipFill>
        <p:spPr>
          <a:xfrm>
            <a:off x="620785" y="1052532"/>
            <a:ext cx="5821959" cy="2979635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994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S-B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573417" y="894351"/>
            <a:ext cx="6033688" cy="4323601"/>
          </a:xfrm>
          <a:prstGeom prst="wedgeRectCallout">
            <a:avLst>
              <a:gd name="adj1" fmla="val -54252"/>
              <a:gd name="adj2" fmla="val -34412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050" name="Picture 2" descr="http://darrenenns.no-ip.org/dmenns/ADS-B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8853" y="986912"/>
            <a:ext cx="5828084" cy="4127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ounded Rectangle 26"/>
          <p:cNvSpPr/>
          <p:nvPr/>
        </p:nvSpPr>
        <p:spPr>
          <a:xfrm>
            <a:off x="514578" y="961609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501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DAR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922789" y="948981"/>
            <a:ext cx="5593557" cy="3555907"/>
          </a:xfrm>
          <a:prstGeom prst="wedgeRectCallout">
            <a:avLst>
              <a:gd name="adj1" fmla="val 53362"/>
              <a:gd name="adj2" fmla="val -4023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  <p:pic>
        <p:nvPicPr>
          <p:cNvPr id="27" name="Obrázok 3">
            <a:extLst/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822" y="1031096"/>
            <a:ext cx="5319032" cy="3338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790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ffline Maps – created from classified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5</a:t>
            </a:fld>
            <a:endParaRPr lang="en-US" dirty="0"/>
          </a:p>
        </p:txBody>
      </p:sp>
      <p:pic>
        <p:nvPicPr>
          <p:cNvPr id="8" name="Obrázok 3">
            <a:extLst/>
          </p:cNvPr>
          <p:cNvPicPr>
            <a:picLocks noGrp="1" noChangeAspect="1"/>
          </p:cNvPicPr>
          <p:nvPr>
            <p:ph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867" y="1193800"/>
            <a:ext cx="3617367" cy="2270125"/>
          </a:xfrm>
          <a:prstGeom prst="rect">
            <a:avLst/>
          </a:prstGeom>
        </p:spPr>
      </p:pic>
      <p:pic>
        <p:nvPicPr>
          <p:cNvPr id="9" name="Obrázok 5">
            <a:extLst/>
          </p:cNvPr>
          <p:cNvPicPr>
            <a:picLocks noGrp="1" noChangeAspect="1"/>
          </p:cNvPicPr>
          <p:nvPr>
            <p:ph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1010" y="1193800"/>
            <a:ext cx="3518054" cy="2270125"/>
          </a:xfrm>
          <a:prstGeom prst="rect">
            <a:avLst/>
          </a:prstGeom>
        </p:spPr>
      </p:pic>
      <p:pic>
        <p:nvPicPr>
          <p:cNvPr id="10" name="Obrázok 9">
            <a:extLst/>
          </p:cNvPr>
          <p:cNvPicPr>
            <a:picLocks noGrp="1" noChangeAspect="1"/>
          </p:cNvPicPr>
          <p:nvPr>
            <p:ph sz="quarter" idx="15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368" y="3784600"/>
            <a:ext cx="3642364" cy="2270125"/>
          </a:xfrm>
          <a:prstGeom prst="rect">
            <a:avLst/>
          </a:prstGeom>
        </p:spPr>
      </p:pic>
      <p:pic>
        <p:nvPicPr>
          <p:cNvPr id="11" name="Obrázok 13">
            <a:extLst/>
          </p:cNvPr>
          <p:cNvPicPr>
            <a:picLocks noGrp="1" noChangeAspect="1"/>
          </p:cNvPicPr>
          <p:nvPr>
            <p:ph sz="quarter" idx="16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9989" y="3784600"/>
            <a:ext cx="3900096" cy="2270125"/>
          </a:xfrm>
          <a:prstGeom prst="rect">
            <a:avLst/>
          </a:prstGeom>
        </p:spPr>
      </p:pic>
      <p:sp>
        <p:nvSpPr>
          <p:cNvPr id="12" name="Rounded Rectangle 12"/>
          <p:cNvSpPr/>
          <p:nvPr/>
        </p:nvSpPr>
        <p:spPr>
          <a:xfrm>
            <a:off x="354183" y="933695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ll data</a:t>
            </a:r>
          </a:p>
        </p:txBody>
      </p:sp>
      <p:sp>
        <p:nvSpPr>
          <p:cNvPr id="14" name="Rounded Rectangle 12"/>
          <p:cNvSpPr/>
          <p:nvPr/>
        </p:nvSpPr>
        <p:spPr>
          <a:xfrm>
            <a:off x="7078772" y="933695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getation</a:t>
            </a:r>
          </a:p>
        </p:txBody>
      </p:sp>
      <p:sp>
        <p:nvSpPr>
          <p:cNvPr id="15" name="Rounded Rectangle 12"/>
          <p:cNvSpPr/>
          <p:nvPr/>
        </p:nvSpPr>
        <p:spPr>
          <a:xfrm>
            <a:off x="7078772" y="5744419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uildings</a:t>
            </a:r>
          </a:p>
        </p:txBody>
      </p:sp>
      <p:sp>
        <p:nvSpPr>
          <p:cNvPr id="16" name="Rounded Rectangle 12"/>
          <p:cNvSpPr/>
          <p:nvPr/>
        </p:nvSpPr>
        <p:spPr>
          <a:xfrm>
            <a:off x="354183" y="5744419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errain</a:t>
            </a:r>
          </a:p>
        </p:txBody>
      </p:sp>
      <p:sp>
        <p:nvSpPr>
          <p:cNvPr id="21" name="Rectangle 4"/>
          <p:cNvSpPr>
            <a:spLocks noChangeArrowheads="1"/>
          </p:cNvSpPr>
          <p:nvPr/>
        </p:nvSpPr>
        <p:spPr bwMode="auto">
          <a:xfrm>
            <a:off x="179461" y="6186879"/>
            <a:ext cx="775853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[*] Maria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erna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.  Usage of maps obtained by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lidar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in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uav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navigation.  Master thesis, Institute of Automotive Mechatronics,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Faculty of Electrical Engineering and Information Technology, Slovak University of Technology,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lkovicova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3, Bratislava. Slovak Republic,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jun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2018.</a:t>
            </a:r>
          </a:p>
        </p:txBody>
      </p:sp>
    </p:spTree>
    <p:extLst>
      <p:ext uri="{BB962C8B-B14F-4D97-AF65-F5344CB8AC3E}">
        <p14:creationId xmlns:p14="http://schemas.microsoft.com/office/powerpoint/2010/main" val="1643667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tacle Map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1904301" y="1935667"/>
            <a:ext cx="5050172" cy="3794014"/>
          </a:xfrm>
          <a:prstGeom prst="wedgeRectCallout">
            <a:avLst>
              <a:gd name="adj1" fmla="val 2516"/>
              <a:gd name="adj2" fmla="val -5344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40" t="6430" r="4515" b="3389"/>
          <a:stretch/>
        </p:blipFill>
        <p:spPr>
          <a:xfrm>
            <a:off x="2004968" y="2038662"/>
            <a:ext cx="4882393" cy="3607268"/>
          </a:xfrm>
          <a:prstGeom prst="rect">
            <a:avLst/>
          </a:prstGeom>
        </p:spPr>
      </p:pic>
      <p:sp>
        <p:nvSpPr>
          <p:cNvPr id="27" name="Rounded Rectangle 26"/>
          <p:cNvSpPr/>
          <p:nvPr/>
        </p:nvSpPr>
        <p:spPr>
          <a:xfrm>
            <a:off x="3609747" y="907318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841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Grid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43302" y="907318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cxnSpLocks/>
            <a:stCxn id="10" idx="2"/>
            <a:endCxn id="6" idx="0"/>
          </p:cNvCxnSpPr>
          <p:nvPr/>
        </p:nvCxnSpPr>
        <p:spPr>
          <a:xfrm rot="16200000" flipH="1">
            <a:off x="2550549" y="733421"/>
            <a:ext cx="862321" cy="3122240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cxnSpLocks/>
            <a:stCxn id="8" idx="2"/>
            <a:endCxn id="6" idx="0"/>
          </p:cNvCxnSpPr>
          <p:nvPr/>
        </p:nvCxnSpPr>
        <p:spPr>
          <a:xfrm rot="5400000">
            <a:off x="5645718" y="760493"/>
            <a:ext cx="862321" cy="3068097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cxnSpLocks/>
            <a:stCxn id="9" idx="2"/>
            <a:endCxn id="6" idx="0"/>
          </p:cNvCxnSpPr>
          <p:nvPr/>
        </p:nvCxnSpPr>
        <p:spPr>
          <a:xfrm flipH="1">
            <a:off x="4542829" y="1821718"/>
            <a:ext cx="6484" cy="90398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cxnSpLocks/>
            <a:stCxn id="6" idx="2"/>
            <a:endCxn id="5" idx="0"/>
          </p:cNvCxnSpPr>
          <p:nvPr/>
        </p:nvCxnSpPr>
        <p:spPr>
          <a:xfrm flipH="1">
            <a:off x="4515757" y="3337128"/>
            <a:ext cx="27072" cy="330258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tangular Callout 28"/>
          <p:cNvSpPr/>
          <p:nvPr/>
        </p:nvSpPr>
        <p:spPr>
          <a:xfrm>
            <a:off x="150554" y="153070"/>
            <a:ext cx="3146319" cy="2778735"/>
          </a:xfrm>
          <a:prstGeom prst="wedgeRectCallout">
            <a:avLst>
              <a:gd name="adj1" fmla="val 87651"/>
              <a:gd name="adj2" fmla="val 53911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33" name="Rectangular Callout 32"/>
          <p:cNvSpPr/>
          <p:nvPr/>
        </p:nvSpPr>
        <p:spPr>
          <a:xfrm>
            <a:off x="5914239" y="154904"/>
            <a:ext cx="3055703" cy="2778735"/>
          </a:xfrm>
          <a:prstGeom prst="wedgeRectCallout">
            <a:avLst>
              <a:gd name="adj1" fmla="val -92907"/>
              <a:gd name="adj2" fmla="val 5364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37" name="Rectangular Callout 34"/>
          <p:cNvSpPr/>
          <p:nvPr/>
        </p:nvSpPr>
        <p:spPr>
          <a:xfrm>
            <a:off x="5801753" y="3491627"/>
            <a:ext cx="3168188" cy="2778735"/>
          </a:xfrm>
          <a:prstGeom prst="wedgeRectCallout">
            <a:avLst>
              <a:gd name="adj1" fmla="val -87819"/>
              <a:gd name="adj2" fmla="val -66329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l="13191" t="9838" r="38903" b="13596"/>
          <a:stretch/>
        </p:blipFill>
        <p:spPr>
          <a:xfrm>
            <a:off x="266170" y="222568"/>
            <a:ext cx="2862719" cy="2625571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4"/>
          <a:srcRect l="13191" t="9838" r="38903" b="13596"/>
          <a:stretch/>
        </p:blipFill>
        <p:spPr>
          <a:xfrm>
            <a:off x="6006133" y="249627"/>
            <a:ext cx="2833216" cy="2598512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>
          <a:xfrm>
            <a:off x="3636818" y="2725702"/>
            <a:ext cx="1812022" cy="611426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5"/>
          <a:srcRect l="13070" t="9838" r="38244" b="13596"/>
          <a:stretch/>
        </p:blipFill>
        <p:spPr>
          <a:xfrm>
            <a:off x="5981906" y="3607830"/>
            <a:ext cx="2862202" cy="2583086"/>
          </a:xfrm>
          <a:prstGeom prst="rect">
            <a:avLst/>
          </a:prstGeom>
        </p:spPr>
      </p:pic>
      <p:sp>
        <p:nvSpPr>
          <p:cNvPr id="31" name="Rectangular Callout 30"/>
          <p:cNvSpPr/>
          <p:nvPr/>
        </p:nvSpPr>
        <p:spPr>
          <a:xfrm>
            <a:off x="70912" y="3496519"/>
            <a:ext cx="3158849" cy="2778735"/>
          </a:xfrm>
          <a:prstGeom prst="wedgeRectCallout">
            <a:avLst>
              <a:gd name="adj1" fmla="val 84640"/>
              <a:gd name="adj2" fmla="val -62918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6"/>
          <a:srcRect l="13070" t="9838" r="37815" b="13596"/>
          <a:stretch/>
        </p:blipFill>
        <p:spPr>
          <a:xfrm>
            <a:off x="164514" y="3580856"/>
            <a:ext cx="2917578" cy="2610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3115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1/7 Initializ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8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l="13166" t="9820" r="11583" b="13290"/>
          <a:stretch/>
        </p:blipFill>
        <p:spPr>
          <a:xfrm>
            <a:off x="530352" y="1193483"/>
            <a:ext cx="7680960" cy="4503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2453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UAS Traffic Management (UTM) (2.5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/>
              <a:t>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52" y="1193484"/>
            <a:ext cx="2459924" cy="484631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15711" y="1193484"/>
            <a:ext cx="2479978" cy="484631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12993" y="1193482"/>
            <a:ext cx="2466067" cy="4806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2729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2/7 Threat (obstacle) assessme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9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2576" t="10215" r="11761" b="13274"/>
          <a:stretch/>
        </p:blipFill>
        <p:spPr>
          <a:xfrm>
            <a:off x="532340" y="1193482"/>
            <a:ext cx="7678972" cy="4456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1988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3/7 Unknown state of the cel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0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071" t="9805" r="11987" b="13265"/>
          <a:stretch/>
        </p:blipFill>
        <p:spPr>
          <a:xfrm>
            <a:off x="532340" y="1193483"/>
            <a:ext cx="7678972" cy="4523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8634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4/7 Reach set approx. proj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308" t="10016" r="11869" b="13474"/>
          <a:stretch/>
        </p:blipFill>
        <p:spPr>
          <a:xfrm>
            <a:off x="530352" y="1193482"/>
            <a:ext cx="7680960" cy="4507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068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6/7 Reachable/Unreachab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206" t="10006" r="11852" b="13274"/>
          <a:stretch/>
        </p:blipFill>
        <p:spPr>
          <a:xfrm>
            <a:off x="530352" y="1193482"/>
            <a:ext cx="7680960" cy="4512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717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7/7 Trajectory sel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206" t="10006" r="11611" b="13484"/>
          <a:stretch/>
        </p:blipFill>
        <p:spPr>
          <a:xfrm>
            <a:off x="532340" y="1193482"/>
            <a:ext cx="8046720" cy="4699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0262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control run (6.5.2)</a:t>
            </a:r>
            <a:br>
              <a:rPr lang="en-US" dirty="0"/>
            </a:br>
            <a:r>
              <a:rPr lang="en-US" dirty="0"/>
              <a:t>	Multiple avoidance run joined togeth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4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311" t="10226" r="12108" b="13683"/>
          <a:stretch/>
        </p:blipFill>
        <p:spPr>
          <a:xfrm>
            <a:off x="530352" y="1193483"/>
            <a:ext cx="7680960" cy="4497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2963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/>
        </p:nvSpPr>
        <p:spPr>
          <a:xfrm>
            <a:off x="3367454" y="2218073"/>
            <a:ext cx="4843858" cy="1754326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UAS 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Traffic Management Concept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351969" y="4488182"/>
            <a:ext cx="4859343" cy="2031325"/>
          </a:xfrm>
          <a:prstGeom prst="rect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UAS 2 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i="1" u="sng" dirty="0"/>
              <a:t>Each vehicle is calculating Collision Cases</a:t>
            </a:r>
            <a:r>
              <a:rPr lang="en-US" dirty="0"/>
              <a:t>  to nearby vehicles, </a:t>
            </a:r>
          </a:p>
          <a:p>
            <a:r>
              <a:rPr lang="en-US" i="1" u="sng" dirty="0"/>
              <a:t>UTM is also calculating Collision Cases</a:t>
            </a:r>
            <a:r>
              <a:rPr lang="en-US" dirty="0"/>
              <a:t> to cluster vehicles,</a:t>
            </a:r>
          </a:p>
          <a:p>
            <a:r>
              <a:rPr lang="en-US" dirty="0"/>
              <a:t>UTM issues </a:t>
            </a:r>
            <a:r>
              <a:rPr lang="en-US" b="1" i="1" u="sng" dirty="0"/>
              <a:t>Resolution advisories</a:t>
            </a:r>
            <a:r>
              <a:rPr lang="en-US" dirty="0"/>
              <a:t> or separation rules to prevent colli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5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6324189" y="5405759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3542098" y="541210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6324189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3542098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pic>
        <p:nvPicPr>
          <p:cNvPr id="34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337087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ounded Rectangle 9"/>
          <p:cNvSpPr/>
          <p:nvPr/>
        </p:nvSpPr>
        <p:spPr>
          <a:xfrm>
            <a:off x="724622" y="3855869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1" name="Straight Arrow Connector 10"/>
          <p:cNvCxnSpPr>
            <a:cxnSpLocks/>
            <a:stCxn id="9" idx="0"/>
            <a:endCxn id="8" idx="1"/>
          </p:cNvCxnSpPr>
          <p:nvPr/>
        </p:nvCxnSpPr>
        <p:spPr>
          <a:xfrm rot="5400000" flipH="1" flipV="1">
            <a:off x="2063625" y="2377397"/>
            <a:ext cx="1045481" cy="1911465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3" name="Straight Arrow Connector 10"/>
          <p:cNvCxnSpPr>
            <a:cxnSpLocks/>
            <a:stCxn id="9" idx="2"/>
            <a:endCxn id="6" idx="1"/>
          </p:cNvCxnSpPr>
          <p:nvPr/>
        </p:nvCxnSpPr>
        <p:spPr>
          <a:xfrm rot="16200000" flipH="1">
            <a:off x="2036846" y="4364055"/>
            <a:ext cx="1099039" cy="1911465"/>
          </a:xfrm>
          <a:prstGeom prst="bent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10"/>
          <p:cNvCxnSpPr>
            <a:cxnSpLocks/>
            <a:stCxn id="8" idx="3"/>
            <a:endCxn id="7" idx="1"/>
          </p:cNvCxnSpPr>
          <p:nvPr/>
        </p:nvCxnSpPr>
        <p:spPr>
          <a:xfrm>
            <a:off x="5354120" y="2810388"/>
            <a:ext cx="970069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Straight Arrow Connector 10"/>
          <p:cNvCxnSpPr>
            <a:cxnSpLocks/>
            <a:stCxn id="6" idx="3"/>
            <a:endCxn id="5" idx="1"/>
          </p:cNvCxnSpPr>
          <p:nvPr/>
        </p:nvCxnSpPr>
        <p:spPr>
          <a:xfrm flipV="1">
            <a:off x="5354120" y="5862959"/>
            <a:ext cx="970069" cy="6349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10"/>
          <p:cNvCxnSpPr>
            <a:cxnSpLocks/>
            <a:stCxn id="8" idx="2"/>
            <a:endCxn id="9" idx="3"/>
          </p:cNvCxnSpPr>
          <p:nvPr/>
        </p:nvCxnSpPr>
        <p:spPr>
          <a:xfrm rot="5400000">
            <a:off x="2969637" y="2834596"/>
            <a:ext cx="1045481" cy="191146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0" name="Straight Arrow Connector 10"/>
          <p:cNvCxnSpPr>
            <a:cxnSpLocks/>
            <a:stCxn id="6" idx="0"/>
            <a:endCxn id="9" idx="3"/>
          </p:cNvCxnSpPr>
          <p:nvPr/>
        </p:nvCxnSpPr>
        <p:spPr>
          <a:xfrm rot="16200000" flipV="1">
            <a:off x="2942858" y="3906856"/>
            <a:ext cx="1099039" cy="1911465"/>
          </a:xfrm>
          <a:prstGeom prst="curved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4770269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Scroll: Horizontal 36"/>
          <p:cNvSpPr/>
          <p:nvPr/>
        </p:nvSpPr>
        <p:spPr>
          <a:xfrm>
            <a:off x="2594359" y="3316341"/>
            <a:ext cx="2323471" cy="490776"/>
          </a:xfrm>
          <a:prstGeom prst="horizontalScroll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Position notification</a:t>
            </a:r>
          </a:p>
        </p:txBody>
      </p:sp>
      <p:sp>
        <p:nvSpPr>
          <p:cNvPr id="38" name="Scroll: Horizontal 37"/>
          <p:cNvSpPr/>
          <p:nvPr/>
        </p:nvSpPr>
        <p:spPr>
          <a:xfrm>
            <a:off x="2594359" y="4862669"/>
            <a:ext cx="2323471" cy="490776"/>
          </a:xfrm>
          <a:prstGeom prst="horizontalScroll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Position notification</a:t>
            </a:r>
          </a:p>
        </p:txBody>
      </p:sp>
      <p:sp>
        <p:nvSpPr>
          <p:cNvPr id="39" name="Scroll: Vertical 38"/>
          <p:cNvSpPr/>
          <p:nvPr/>
        </p:nvSpPr>
        <p:spPr>
          <a:xfrm>
            <a:off x="236735" y="2975828"/>
            <a:ext cx="1345134" cy="790099"/>
          </a:xfrm>
          <a:prstGeom prst="verticalScroll">
            <a:avLst/>
          </a:prstGeom>
          <a:ln w="12700">
            <a:solidFill>
              <a:srgbClr val="00206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2060"/>
                </a:solidFill>
              </a:rPr>
              <a:t>Collision Case</a:t>
            </a:r>
          </a:p>
        </p:txBody>
      </p:sp>
      <p:sp>
        <p:nvSpPr>
          <p:cNvPr id="40" name="Arrow: Pentagon 39"/>
          <p:cNvSpPr/>
          <p:nvPr/>
        </p:nvSpPr>
        <p:spPr>
          <a:xfrm>
            <a:off x="1199121" y="2326140"/>
            <a:ext cx="1503770" cy="369332"/>
          </a:xfrm>
          <a:prstGeom prst="homePlate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Resolution</a:t>
            </a:r>
          </a:p>
        </p:txBody>
      </p:sp>
      <p:sp>
        <p:nvSpPr>
          <p:cNvPr id="41" name="Arrow: Pentagon 40"/>
          <p:cNvSpPr/>
          <p:nvPr/>
        </p:nvSpPr>
        <p:spPr>
          <a:xfrm>
            <a:off x="1199121" y="5936942"/>
            <a:ext cx="1503770" cy="369332"/>
          </a:xfrm>
          <a:prstGeom prst="homePlate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Resolution</a:t>
            </a:r>
          </a:p>
        </p:txBody>
      </p:sp>
    </p:spTree>
    <p:extLst>
      <p:ext uri="{BB962C8B-B14F-4D97-AF65-F5344CB8AC3E}">
        <p14:creationId xmlns:p14="http://schemas.microsoft.com/office/powerpoint/2010/main" val="1134851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6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3464821" y="2003817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6767038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cision point</a:t>
            </a:r>
          </a:p>
          <a:p>
            <a:pPr algn="ctr"/>
            <a:r>
              <a:rPr lang="en-US" dirty="0"/>
              <a:t>(Join point)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530352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530352" y="402087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er</a:t>
            </a:r>
          </a:p>
        </p:txBody>
      </p:sp>
      <p:sp>
        <p:nvSpPr>
          <p:cNvPr id="9" name="Rounded Rectangle 9"/>
          <p:cNvSpPr/>
          <p:nvPr/>
        </p:nvSpPr>
        <p:spPr>
          <a:xfrm>
            <a:off x="3462833" y="5914193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dition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767038" y="402501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plication</a:t>
            </a:r>
          </a:p>
        </p:txBody>
      </p:sp>
      <p:cxnSp>
        <p:nvCxnSpPr>
          <p:cNvPr id="11" name="Straight Arrow Connector 9"/>
          <p:cNvCxnSpPr>
            <a:cxnSpLocks/>
            <a:stCxn id="8" idx="3"/>
            <a:endCxn id="9" idx="1"/>
          </p:cNvCxnSpPr>
          <p:nvPr/>
        </p:nvCxnSpPr>
        <p:spPr>
          <a:xfrm>
            <a:off x="2342374" y="4190931"/>
            <a:ext cx="1120459" cy="189331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Arrow Connector 9"/>
          <p:cNvCxnSpPr>
            <a:cxnSpLocks/>
            <a:stCxn id="9" idx="3"/>
            <a:endCxn id="10" idx="1"/>
          </p:cNvCxnSpPr>
          <p:nvPr/>
        </p:nvCxnSpPr>
        <p:spPr>
          <a:xfrm flipV="1">
            <a:off x="5274855" y="4195071"/>
            <a:ext cx="1492183" cy="188917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Rounded Rectangle 9"/>
          <p:cNvSpPr/>
          <p:nvPr/>
        </p:nvSpPr>
        <p:spPr>
          <a:xfrm>
            <a:off x="532340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21" name="Rounded Rectangle 9"/>
          <p:cNvSpPr/>
          <p:nvPr/>
        </p:nvSpPr>
        <p:spPr>
          <a:xfrm>
            <a:off x="6767038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22" name="Rounded Rectangle 9"/>
          <p:cNvSpPr/>
          <p:nvPr/>
        </p:nvSpPr>
        <p:spPr>
          <a:xfrm>
            <a:off x="3464821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cxnSp>
        <p:nvCxnSpPr>
          <p:cNvPr id="23" name="Straight Arrow Connector 9"/>
          <p:cNvCxnSpPr>
            <a:cxnSpLocks/>
            <a:endCxn id="5" idx="1"/>
          </p:cNvCxnSpPr>
          <p:nvPr/>
        </p:nvCxnSpPr>
        <p:spPr>
          <a:xfrm>
            <a:off x="2309812" y="1372821"/>
            <a:ext cx="1155009" cy="1088196"/>
          </a:xfrm>
          <a:prstGeom prst="curvedConnector3">
            <a:avLst/>
          </a:prstGeom>
          <a:ln w="57150">
            <a:solidFill>
              <a:srgbClr val="E71D1D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9"/>
          <p:cNvCxnSpPr>
            <a:cxnSpLocks/>
            <a:stCxn id="6" idx="1"/>
            <a:endCxn id="5" idx="3"/>
          </p:cNvCxnSpPr>
          <p:nvPr/>
        </p:nvCxnSpPr>
        <p:spPr>
          <a:xfrm rot="10800000" flipV="1">
            <a:off x="5276844" y="1318671"/>
            <a:ext cx="1490195" cy="1142346"/>
          </a:xfrm>
          <a:prstGeom prst="curvedConnector3">
            <a:avLst>
              <a:gd name="adj1" fmla="val 50000"/>
            </a:avLst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8" name="Straight Arrow Connector 9"/>
          <p:cNvCxnSpPr>
            <a:cxnSpLocks/>
            <a:stCxn id="22" idx="2"/>
            <a:endCxn id="5" idx="0"/>
          </p:cNvCxnSpPr>
          <p:nvPr/>
        </p:nvCxnSpPr>
        <p:spPr>
          <a:xfrm>
            <a:off x="4370832" y="1775871"/>
            <a:ext cx="0" cy="227946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Arrow Connector 9"/>
          <p:cNvCxnSpPr>
            <a:cxnSpLocks/>
            <a:stCxn id="21" idx="0"/>
            <a:endCxn id="6" idx="2"/>
          </p:cNvCxnSpPr>
          <p:nvPr/>
        </p:nvCxnSpPr>
        <p:spPr>
          <a:xfrm flipV="1">
            <a:off x="7673049" y="1775871"/>
            <a:ext cx="0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Arrow Connector 9"/>
          <p:cNvCxnSpPr>
            <a:cxnSpLocks/>
            <a:stCxn id="20" idx="0"/>
            <a:endCxn id="7" idx="2"/>
          </p:cNvCxnSpPr>
          <p:nvPr/>
        </p:nvCxnSpPr>
        <p:spPr>
          <a:xfrm flipH="1" flipV="1">
            <a:off x="1436363" y="1775871"/>
            <a:ext cx="1988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Straight Arrow Connector 9"/>
          <p:cNvCxnSpPr>
            <a:cxnSpLocks/>
            <a:stCxn id="5" idx="2"/>
            <a:endCxn id="8" idx="0"/>
          </p:cNvCxnSpPr>
          <p:nvPr/>
        </p:nvCxnSpPr>
        <p:spPr>
          <a:xfrm rot="5400000">
            <a:off x="2352268" y="2002313"/>
            <a:ext cx="1102660" cy="2934469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6" name="Rectangle 45"/>
          <p:cNvSpPr/>
          <p:nvPr/>
        </p:nvSpPr>
        <p:spPr>
          <a:xfrm>
            <a:off x="530352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Parse context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Positio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3462833" y="4020878"/>
            <a:ext cx="1779460" cy="1754326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Check condi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Velocity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6767038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Take ac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Slow dow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6767038" y="3019651"/>
            <a:ext cx="1779460" cy="646331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Velocity Recalculat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530352" y="3019651"/>
            <a:ext cx="1779460" cy="369332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My miss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426544" y="730056"/>
            <a:ext cx="9797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Gather </a:t>
            </a:r>
          </a:p>
          <a:p>
            <a:r>
              <a:rPr lang="en-US" dirty="0">
                <a:solidFill>
                  <a:schemeClr val="tx2"/>
                </a:solidFill>
              </a:rPr>
              <a:t>Context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5419535" y="749563"/>
            <a:ext cx="92845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Invoke </a:t>
            </a:r>
          </a:p>
          <a:p>
            <a:r>
              <a:rPr lang="en-US" dirty="0">
                <a:solidFill>
                  <a:schemeClr val="tx2"/>
                </a:solidFill>
              </a:rPr>
              <a:t>Engine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3229833" y="3475898"/>
            <a:ext cx="2339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Invoke Rule Instance</a:t>
            </a:r>
          </a:p>
        </p:txBody>
      </p:sp>
    </p:spTree>
    <p:extLst>
      <p:ext uri="{BB962C8B-B14F-4D97-AF65-F5344CB8AC3E}">
        <p14:creationId xmlns:p14="http://schemas.microsoft.com/office/powerpoint/2010/main" val="979136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est pla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6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0698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 pla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903688" y="856420"/>
            <a:ext cx="6934287" cy="556473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3209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Goal in controlled airspace: </a:t>
            </a:r>
            <a:br>
              <a:rPr lang="en-US" dirty="0"/>
            </a:br>
            <a:r>
              <a:rPr lang="en-US" dirty="0"/>
              <a:t>			Remain well clea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1898" y="1671655"/>
            <a:ext cx="6787604" cy="4826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555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aze Sol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torm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6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4595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3)</a:t>
            </a:r>
            <a:br>
              <a:rPr lang="en-US" dirty="0"/>
            </a:br>
            <a:r>
              <a:rPr lang="en-US" dirty="0"/>
              <a:t>	Maze</a:t>
            </a:r>
          </a:p>
        </p:txBody>
      </p:sp>
      <p:pic>
        <p:nvPicPr>
          <p:cNvPr id="5" name="maz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0096" r="10200"/>
          <a:stretch/>
        </p:blipFill>
        <p:spPr>
          <a:xfrm>
            <a:off x="530352" y="1222131"/>
            <a:ext cx="7986661" cy="5635869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664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1819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4):</a:t>
            </a:r>
            <a:br>
              <a:rPr lang="en-US" dirty="0"/>
            </a:br>
            <a:r>
              <a:rPr lang="en-US" dirty="0"/>
              <a:t>	Storm</a:t>
            </a:r>
          </a:p>
        </p:txBody>
      </p:sp>
      <p:pic>
        <p:nvPicPr>
          <p:cNvPr id="5" name="storm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9742" b="9565"/>
          <a:stretch/>
        </p:blipFill>
        <p:spPr>
          <a:xfrm>
            <a:off x="0" y="1732085"/>
            <a:ext cx="9144000" cy="414997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065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56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Rules of the Air Simulations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nverging Maneu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Head On Approach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vertak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7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589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3</a:t>
            </a:fld>
            <a:endParaRPr lang="en-US" dirty="0"/>
          </a:p>
        </p:txBody>
      </p:sp>
      <p:sp>
        <p:nvSpPr>
          <p:cNvPr id="5" name="Pie 15"/>
          <p:cNvSpPr/>
          <p:nvPr/>
        </p:nvSpPr>
        <p:spPr>
          <a:xfrm>
            <a:off x="959955" y="92522"/>
            <a:ext cx="3014039" cy="3014039"/>
          </a:xfrm>
          <a:prstGeom prst="pie">
            <a:avLst>
              <a:gd name="adj1" fmla="val 0"/>
              <a:gd name="adj2" fmla="val 5375887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7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9" name="Straight Connector 8"/>
          <p:cNvCxnSpPr>
            <a:endCxn id="6" idx="0"/>
          </p:cNvCxnSpPr>
          <p:nvPr/>
        </p:nvCxnSpPr>
        <p:spPr>
          <a:xfrm>
            <a:off x="2466975" y="1009650"/>
            <a:ext cx="0" cy="4342083"/>
          </a:xfrm>
          <a:prstGeom prst="line">
            <a:avLst/>
          </a:pr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7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blipFill>
                <a:blip r:embed="rId4"/>
                <a:stretch>
                  <a:fillRect l="-637" b="-130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520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4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/>
          <p:cNvCxnSpPr>
            <a:stCxn id="6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8" name="Oval 7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7"/>
          <p:cNvSpPr/>
          <p:nvPr/>
        </p:nvSpPr>
        <p:spPr>
          <a:xfrm>
            <a:off x="2470150" y="2489200"/>
            <a:ext cx="5334000" cy="2870200"/>
          </a:xfrm>
          <a:custGeom>
            <a:avLst/>
            <a:gdLst>
              <a:gd name="connsiteX0" fmla="*/ 0 w 5334000"/>
              <a:gd name="connsiteY0" fmla="*/ 2870200 h 2870200"/>
              <a:gd name="connsiteX1" fmla="*/ 1327150 w 5334000"/>
              <a:gd name="connsiteY1" fmla="*/ 457200 h 2870200"/>
              <a:gd name="connsiteX2" fmla="*/ 5334000 w 5334000"/>
              <a:gd name="connsiteY2" fmla="*/ 0 h 287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34000" h="2870200">
                <a:moveTo>
                  <a:pt x="0" y="2870200"/>
                </a:moveTo>
                <a:cubicBezTo>
                  <a:pt x="219075" y="1902883"/>
                  <a:pt x="438150" y="935567"/>
                  <a:pt x="1327150" y="457200"/>
                </a:cubicBezTo>
                <a:cubicBezTo>
                  <a:pt x="2216150" y="-21167"/>
                  <a:pt x="4552950" y="164042"/>
                  <a:pt x="5334000" y="0"/>
                </a:cubicBezTo>
              </a:path>
            </a:pathLst>
          </a:custGeom>
          <a:ln>
            <a:prstDash val="dash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16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urn right and stay away from approaching aircraft</a:t>
            </a:r>
          </a:p>
        </p:txBody>
      </p:sp>
    </p:spTree>
    <p:extLst>
      <p:ext uri="{BB962C8B-B14F-4D97-AF65-F5344CB8AC3E}">
        <p14:creationId xmlns:p14="http://schemas.microsoft.com/office/powerpoint/2010/main" val="207496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5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H="1" flipV="1">
            <a:off x="755650" y="1615245"/>
            <a:ext cx="6127750" cy="1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6" name="Freeform 2"/>
          <p:cNvSpPr/>
          <p:nvPr/>
        </p:nvSpPr>
        <p:spPr>
          <a:xfrm>
            <a:off x="2457450" y="2743200"/>
            <a:ext cx="1968500" cy="2628900"/>
          </a:xfrm>
          <a:custGeom>
            <a:avLst/>
            <a:gdLst>
              <a:gd name="connsiteX0" fmla="*/ 0 w 1968500"/>
              <a:gd name="connsiteY0" fmla="*/ 2628900 h 2628900"/>
              <a:gd name="connsiteX1" fmla="*/ 361950 w 1968500"/>
              <a:gd name="connsiteY1" fmla="*/ 1346200 h 2628900"/>
              <a:gd name="connsiteX2" fmla="*/ 1066800 w 1968500"/>
              <a:gd name="connsiteY2" fmla="*/ 381000 h 2628900"/>
              <a:gd name="connsiteX3" fmla="*/ 1968500 w 1968500"/>
              <a:gd name="connsiteY3" fmla="*/ 0 h 2628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68500" h="2628900">
                <a:moveTo>
                  <a:pt x="0" y="2628900"/>
                </a:moveTo>
                <a:cubicBezTo>
                  <a:pt x="92075" y="2174875"/>
                  <a:pt x="184150" y="1720850"/>
                  <a:pt x="361950" y="1346200"/>
                </a:cubicBezTo>
                <a:cubicBezTo>
                  <a:pt x="539750" y="971550"/>
                  <a:pt x="799042" y="605367"/>
                  <a:pt x="1066800" y="381000"/>
                </a:cubicBezTo>
                <a:cubicBezTo>
                  <a:pt x="1334558" y="156633"/>
                  <a:pt x="1893358" y="29633"/>
                  <a:pt x="1968500" y="0"/>
                </a:cubicBezTo>
              </a:path>
            </a:pathLst>
          </a:cu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3901945">
            <a:off x="3448049" y="2479062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9" idx="0"/>
          </p:cNvCxnSpPr>
          <p:nvPr/>
        </p:nvCxnSpPr>
        <p:spPr>
          <a:xfrm flipV="1">
            <a:off x="1990066" y="1615245"/>
            <a:ext cx="4893334" cy="635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2009775" y="115421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8"/>
          <p:cNvSpPr/>
          <p:nvPr/>
        </p:nvSpPr>
        <p:spPr>
          <a:xfrm>
            <a:off x="4406900" y="1079500"/>
            <a:ext cx="1986164" cy="1663700"/>
          </a:xfrm>
          <a:custGeom>
            <a:avLst/>
            <a:gdLst>
              <a:gd name="connsiteX0" fmla="*/ 0 w 1986164"/>
              <a:gd name="connsiteY0" fmla="*/ 1663700 h 1663700"/>
              <a:gd name="connsiteX1" fmla="*/ 1320800 w 1986164"/>
              <a:gd name="connsiteY1" fmla="*/ 1174750 h 1663700"/>
              <a:gd name="connsiteX2" fmla="*/ 1860550 w 1986164"/>
              <a:gd name="connsiteY2" fmla="*/ 787400 h 1663700"/>
              <a:gd name="connsiteX3" fmla="*/ 1962150 w 1986164"/>
              <a:gd name="connsiteY3" fmla="*/ 273050 h 1663700"/>
              <a:gd name="connsiteX4" fmla="*/ 1511300 w 1986164"/>
              <a:gd name="connsiteY4" fmla="*/ 0 h 1663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86164" h="1663700">
                <a:moveTo>
                  <a:pt x="0" y="1663700"/>
                </a:moveTo>
                <a:cubicBezTo>
                  <a:pt x="505354" y="1492250"/>
                  <a:pt x="1010708" y="1320800"/>
                  <a:pt x="1320800" y="1174750"/>
                </a:cubicBezTo>
                <a:cubicBezTo>
                  <a:pt x="1630892" y="1028700"/>
                  <a:pt x="1753658" y="937683"/>
                  <a:pt x="1860550" y="787400"/>
                </a:cubicBezTo>
                <a:cubicBezTo>
                  <a:pt x="1967442" y="637117"/>
                  <a:pt x="2020358" y="404283"/>
                  <a:pt x="1962150" y="273050"/>
                </a:cubicBezTo>
                <a:cubicBezTo>
                  <a:pt x="1903942" y="141817"/>
                  <a:pt x="1600200" y="37042"/>
                  <a:pt x="1511300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2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turn to original path behind other aircraft</a:t>
            </a:r>
          </a:p>
        </p:txBody>
      </p:sp>
    </p:spTree>
    <p:extLst>
      <p:ext uri="{BB962C8B-B14F-4D97-AF65-F5344CB8AC3E}">
        <p14:creationId xmlns:p14="http://schemas.microsoft.com/office/powerpoint/2010/main" val="3008459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1):</a:t>
            </a:r>
            <a:br>
              <a:rPr lang="en-US" dirty="0"/>
            </a:br>
            <a:r>
              <a:rPr lang="en-US" dirty="0"/>
              <a:t>	Rule-based converging</a:t>
            </a:r>
          </a:p>
        </p:txBody>
      </p:sp>
      <p:pic>
        <p:nvPicPr>
          <p:cNvPr id="5" name="ruleConverging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7320" r="16796"/>
          <a:stretch/>
        </p:blipFill>
        <p:spPr>
          <a:xfrm>
            <a:off x="1318845" y="1222254"/>
            <a:ext cx="6594231" cy="562930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067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61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7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5400000">
            <a:off x="534287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7702281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6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e 14"/>
          <p:cNvSpPr/>
          <p:nvPr/>
        </p:nvSpPr>
        <p:spPr>
          <a:xfrm>
            <a:off x="3133725" y="1897088"/>
            <a:ext cx="2932421" cy="2927402"/>
          </a:xfrm>
          <a:prstGeom prst="pie">
            <a:avLst>
              <a:gd name="adj1" fmla="val 10800000"/>
              <a:gd name="adj2" fmla="val 5143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Freeform 16"/>
          <p:cNvSpPr/>
          <p:nvPr/>
        </p:nvSpPr>
        <p:spPr>
          <a:xfrm>
            <a:off x="1438275" y="3362325"/>
            <a:ext cx="6238875" cy="1612112"/>
          </a:xfrm>
          <a:custGeom>
            <a:avLst/>
            <a:gdLst>
              <a:gd name="connsiteX0" fmla="*/ 0 w 6238875"/>
              <a:gd name="connsiteY0" fmla="*/ 0 h 1612112"/>
              <a:gd name="connsiteX1" fmla="*/ 781050 w 6238875"/>
              <a:gd name="connsiteY1" fmla="*/ 266700 h 1612112"/>
              <a:gd name="connsiteX2" fmla="*/ 1609725 w 6238875"/>
              <a:gd name="connsiteY2" fmla="*/ 781050 h 1612112"/>
              <a:gd name="connsiteX3" fmla="*/ 2219325 w 6238875"/>
              <a:gd name="connsiteY3" fmla="*/ 1314450 h 1612112"/>
              <a:gd name="connsiteX4" fmla="*/ 3305175 w 6238875"/>
              <a:gd name="connsiteY4" fmla="*/ 1609725 h 1612112"/>
              <a:gd name="connsiteX5" fmla="*/ 4210050 w 6238875"/>
              <a:gd name="connsiteY5" fmla="*/ 1162050 h 1612112"/>
              <a:gd name="connsiteX6" fmla="*/ 4686300 w 6238875"/>
              <a:gd name="connsiteY6" fmla="*/ 428625 h 1612112"/>
              <a:gd name="connsiteX7" fmla="*/ 5038725 w 6238875"/>
              <a:gd name="connsiteY7" fmla="*/ 76200 h 1612112"/>
              <a:gd name="connsiteX8" fmla="*/ 5848350 w 6238875"/>
              <a:gd name="connsiteY8" fmla="*/ 19050 h 1612112"/>
              <a:gd name="connsiteX9" fmla="*/ 6238875 w 6238875"/>
              <a:gd name="connsiteY9" fmla="*/ 19050 h 1612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38875" h="1612112">
                <a:moveTo>
                  <a:pt x="0" y="0"/>
                </a:moveTo>
                <a:cubicBezTo>
                  <a:pt x="256381" y="68262"/>
                  <a:pt x="512763" y="136525"/>
                  <a:pt x="781050" y="266700"/>
                </a:cubicBezTo>
                <a:cubicBezTo>
                  <a:pt x="1049338" y="396875"/>
                  <a:pt x="1370013" y="606425"/>
                  <a:pt x="1609725" y="781050"/>
                </a:cubicBezTo>
                <a:cubicBezTo>
                  <a:pt x="1849437" y="955675"/>
                  <a:pt x="1936750" y="1176338"/>
                  <a:pt x="2219325" y="1314450"/>
                </a:cubicBezTo>
                <a:cubicBezTo>
                  <a:pt x="2501900" y="1452562"/>
                  <a:pt x="2973388" y="1635125"/>
                  <a:pt x="3305175" y="1609725"/>
                </a:cubicBezTo>
                <a:cubicBezTo>
                  <a:pt x="3636962" y="1584325"/>
                  <a:pt x="3979863" y="1358900"/>
                  <a:pt x="4210050" y="1162050"/>
                </a:cubicBezTo>
                <a:cubicBezTo>
                  <a:pt x="4440238" y="965200"/>
                  <a:pt x="4548188" y="609600"/>
                  <a:pt x="4686300" y="428625"/>
                </a:cubicBezTo>
                <a:cubicBezTo>
                  <a:pt x="4824412" y="247650"/>
                  <a:pt x="4845050" y="144462"/>
                  <a:pt x="5038725" y="76200"/>
                </a:cubicBezTo>
                <a:cubicBezTo>
                  <a:pt x="5232400" y="7938"/>
                  <a:pt x="5648325" y="28575"/>
                  <a:pt x="5848350" y="19050"/>
                </a:cubicBezTo>
                <a:cubicBezTo>
                  <a:pt x="6048375" y="9525"/>
                  <a:pt x="6238875" y="19050"/>
                  <a:pt x="6238875" y="1905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18"/>
          <p:cNvSpPr/>
          <p:nvPr/>
        </p:nvSpPr>
        <p:spPr>
          <a:xfrm>
            <a:off x="1638300" y="1789199"/>
            <a:ext cx="6048375" cy="1614401"/>
          </a:xfrm>
          <a:custGeom>
            <a:avLst/>
            <a:gdLst>
              <a:gd name="connsiteX0" fmla="*/ 6048375 w 6048375"/>
              <a:gd name="connsiteY0" fmla="*/ 1563601 h 1614401"/>
              <a:gd name="connsiteX1" fmla="*/ 4905375 w 6048375"/>
              <a:gd name="connsiteY1" fmla="*/ 649201 h 1614401"/>
              <a:gd name="connsiteX2" fmla="*/ 3552825 w 6048375"/>
              <a:gd name="connsiteY2" fmla="*/ 125326 h 1614401"/>
              <a:gd name="connsiteX3" fmla="*/ 2676525 w 6048375"/>
              <a:gd name="connsiteY3" fmla="*/ 20551 h 1614401"/>
              <a:gd name="connsiteX4" fmla="*/ 1724025 w 6048375"/>
              <a:gd name="connsiteY4" fmla="*/ 439651 h 1614401"/>
              <a:gd name="connsiteX5" fmla="*/ 1190625 w 6048375"/>
              <a:gd name="connsiteY5" fmla="*/ 1068301 h 1614401"/>
              <a:gd name="connsiteX6" fmla="*/ 781050 w 6048375"/>
              <a:gd name="connsiteY6" fmla="*/ 1439776 h 1614401"/>
              <a:gd name="connsiteX7" fmla="*/ 342900 w 6048375"/>
              <a:gd name="connsiteY7" fmla="*/ 1582651 h 1614401"/>
              <a:gd name="connsiteX8" fmla="*/ 190500 w 6048375"/>
              <a:gd name="connsiteY8" fmla="*/ 1582651 h 1614401"/>
              <a:gd name="connsiteX9" fmla="*/ 0 w 6048375"/>
              <a:gd name="connsiteY9" fmla="*/ 1582651 h 161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48375" h="1614401">
                <a:moveTo>
                  <a:pt x="6048375" y="1563601"/>
                </a:moveTo>
                <a:cubicBezTo>
                  <a:pt x="5684837" y="1226257"/>
                  <a:pt x="5321300" y="888914"/>
                  <a:pt x="4905375" y="649201"/>
                </a:cubicBezTo>
                <a:cubicBezTo>
                  <a:pt x="4489450" y="409488"/>
                  <a:pt x="3924300" y="230101"/>
                  <a:pt x="3552825" y="125326"/>
                </a:cubicBezTo>
                <a:cubicBezTo>
                  <a:pt x="3181350" y="20551"/>
                  <a:pt x="2981325" y="-31836"/>
                  <a:pt x="2676525" y="20551"/>
                </a:cubicBezTo>
                <a:cubicBezTo>
                  <a:pt x="2371725" y="72938"/>
                  <a:pt x="1971675" y="265026"/>
                  <a:pt x="1724025" y="439651"/>
                </a:cubicBezTo>
                <a:cubicBezTo>
                  <a:pt x="1476375" y="614276"/>
                  <a:pt x="1347787" y="901614"/>
                  <a:pt x="1190625" y="1068301"/>
                </a:cubicBezTo>
                <a:cubicBezTo>
                  <a:pt x="1033463" y="1234988"/>
                  <a:pt x="922337" y="1354051"/>
                  <a:pt x="781050" y="1439776"/>
                </a:cubicBezTo>
                <a:cubicBezTo>
                  <a:pt x="639762" y="1525501"/>
                  <a:pt x="441325" y="1558838"/>
                  <a:pt x="342900" y="1582651"/>
                </a:cubicBezTo>
                <a:cubicBezTo>
                  <a:pt x="244475" y="1606464"/>
                  <a:pt x="190500" y="1582651"/>
                  <a:pt x="190500" y="1582651"/>
                </a:cubicBezTo>
                <a:cubicBezTo>
                  <a:pt x="133350" y="1582651"/>
                  <a:pt x="134937" y="1654089"/>
                  <a:pt x="0" y="1582651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ounded Rectangle 19"/>
              <p:cNvSpPr/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solidFill>
                <a:srgbClr val="FF0000"/>
              </a:solidFill>
              <a:ln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Applies when angle of approach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𝛼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≥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30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𝑜</m:t>
                        </m:r>
                      </m:sup>
                    </m:sSup>
                  </m:oMath>
                </a14:m>
                <a:r>
                  <a:rPr lang="en-US" b="0" dirty="0"/>
                  <a:t>, Safety margi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en-US" b="0" dirty="0"/>
                  <a:t> is given as (2x) 5m</a:t>
                </a:r>
              </a:p>
            </p:txBody>
          </p:sp>
        </mc:Choice>
        <mc:Fallback xmlns="">
          <p:sp>
            <p:nvSpPr>
              <p:cNvPr id="11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Arrow Connector 12"/>
          <p:cNvCxnSpPr>
            <a:stCxn id="12" idx="5"/>
          </p:cNvCxnSpPr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5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13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blipFill>
                <a:blip r:embed="rId6"/>
                <a:stretch>
                  <a:fillRect l="-2410" b="-1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27688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8</a:t>
            </a:fld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3994459" y="901197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2"/>
          <p:cNvSpPr/>
          <p:nvPr/>
        </p:nvSpPr>
        <p:spPr>
          <a:xfrm>
            <a:off x="5000625" y="3590925"/>
            <a:ext cx="3857625" cy="1828800"/>
          </a:xfrm>
          <a:custGeom>
            <a:avLst/>
            <a:gdLst>
              <a:gd name="connsiteX0" fmla="*/ 0 w 3857625"/>
              <a:gd name="connsiteY0" fmla="*/ 1828800 h 1828800"/>
              <a:gd name="connsiteX1" fmla="*/ 1123950 w 3857625"/>
              <a:gd name="connsiteY1" fmla="*/ 581025 h 1828800"/>
              <a:gd name="connsiteX2" fmla="*/ 1857375 w 3857625"/>
              <a:gd name="connsiteY2" fmla="*/ 114300 h 1828800"/>
              <a:gd name="connsiteX3" fmla="*/ 3857625 w 3857625"/>
              <a:gd name="connsiteY3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57625" h="1828800">
                <a:moveTo>
                  <a:pt x="0" y="1828800"/>
                </a:moveTo>
                <a:cubicBezTo>
                  <a:pt x="407194" y="1347787"/>
                  <a:pt x="814388" y="866775"/>
                  <a:pt x="1123950" y="581025"/>
                </a:cubicBezTo>
                <a:cubicBezTo>
                  <a:pt x="1433512" y="295275"/>
                  <a:pt x="1401763" y="211137"/>
                  <a:pt x="1857375" y="114300"/>
                </a:cubicBezTo>
                <a:cubicBezTo>
                  <a:pt x="2312988" y="17462"/>
                  <a:pt x="3522663" y="20637"/>
                  <a:pt x="3857625" y="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6"/>
          <p:cNvSpPr/>
          <p:nvPr/>
        </p:nvSpPr>
        <p:spPr>
          <a:xfrm>
            <a:off x="314325" y="1352550"/>
            <a:ext cx="3676650" cy="2033740"/>
          </a:xfrm>
          <a:custGeom>
            <a:avLst/>
            <a:gdLst>
              <a:gd name="connsiteX0" fmla="*/ 3676650 w 3676650"/>
              <a:gd name="connsiteY0" fmla="*/ 0 h 2033740"/>
              <a:gd name="connsiteX1" fmla="*/ 2295525 w 3676650"/>
              <a:gd name="connsiteY1" fmla="*/ 504825 h 2033740"/>
              <a:gd name="connsiteX2" fmla="*/ 1457325 w 3676650"/>
              <a:gd name="connsiteY2" fmla="*/ 1781175 h 2033740"/>
              <a:gd name="connsiteX3" fmla="*/ 0 w 3676650"/>
              <a:gd name="connsiteY3" fmla="*/ 2019300 h 2033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2033740">
                <a:moveTo>
                  <a:pt x="3676650" y="0"/>
                </a:moveTo>
                <a:cubicBezTo>
                  <a:pt x="3171031" y="103981"/>
                  <a:pt x="2665412" y="207963"/>
                  <a:pt x="2295525" y="504825"/>
                </a:cubicBezTo>
                <a:cubicBezTo>
                  <a:pt x="1925638" y="801687"/>
                  <a:pt x="1839913" y="1528762"/>
                  <a:pt x="1457325" y="1781175"/>
                </a:cubicBezTo>
                <a:cubicBezTo>
                  <a:pt x="1074737" y="2033588"/>
                  <a:pt x="603250" y="2057400"/>
                  <a:pt x="0" y="201930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2924642">
            <a:off x="4318308" y="5145084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ounded Rectangle 17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oth vehicles are taking right side avoidance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4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62760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578" y="0"/>
            <a:ext cx="8002359" cy="856420"/>
          </a:xfrm>
        </p:spPr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ctors introduction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pic>
        <p:nvPicPr>
          <p:cNvPr id="1026" name="Picture 2" descr="Image result for quadcopter icon fre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568844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-964599" y="2197732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UAS</a:t>
            </a:r>
          </a:p>
        </p:txBody>
      </p:sp>
      <p:pic>
        <p:nvPicPr>
          <p:cNvPr id="1028" name="Picture 4" descr="Image result for coast ico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4994" y="4091268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/>
          <p:cNvSpPr/>
          <p:nvPr/>
        </p:nvSpPr>
        <p:spPr>
          <a:xfrm>
            <a:off x="4955817" y="5642684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Static obstacle</a:t>
            </a:r>
          </a:p>
        </p:txBody>
      </p:sp>
      <p:pic>
        <p:nvPicPr>
          <p:cNvPr id="1036" name="Picture 12" descr="Image result for bird icon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9966" y="568844"/>
            <a:ext cx="2589050" cy="2589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/>
        </p:nvSpPr>
        <p:spPr>
          <a:xfrm>
            <a:off x="3871071" y="2469194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Adversary</a:t>
            </a:r>
            <a:endParaRPr lang="en-US" sz="28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accent3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  <p:pic>
        <p:nvPicPr>
          <p:cNvPr id="1040" name="Picture 16" descr="Image result for plane icon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7381" y="2952399"/>
            <a:ext cx="2741374" cy="2741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/>
        </p:nvSpPr>
        <p:spPr>
          <a:xfrm>
            <a:off x="126244" y="4887499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Intruder</a:t>
            </a:r>
            <a:endParaRPr lang="en-US" sz="28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accent3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152238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2):</a:t>
            </a:r>
            <a:br>
              <a:rPr lang="en-US" dirty="0"/>
            </a:br>
            <a:r>
              <a:rPr lang="en-US" dirty="0"/>
              <a:t>	</a:t>
            </a:r>
            <a:r>
              <a:rPr lang="sk-SK" dirty="0"/>
              <a:t>Rul</a:t>
            </a:r>
            <a:r>
              <a:rPr lang="en-US" dirty="0"/>
              <a:t>e-based head-on</a:t>
            </a:r>
          </a:p>
        </p:txBody>
      </p:sp>
      <p:pic>
        <p:nvPicPr>
          <p:cNvPr id="5" name="ruleHeadOn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17287" b="17441"/>
          <a:stretch/>
        </p:blipFill>
        <p:spPr>
          <a:xfrm>
            <a:off x="0" y="2154115"/>
            <a:ext cx="9172663" cy="3367454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7494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0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0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310295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549175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e aircraft being overtaken has the right of the way</a:t>
            </a:r>
          </a:p>
        </p:txBody>
      </p:sp>
      <p:sp>
        <p:nvSpPr>
          <p:cNvPr id="11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Oval 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6276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1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8852442">
            <a:off x="4529766" y="237426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reeform 8"/>
          <p:cNvSpPr/>
          <p:nvPr/>
        </p:nvSpPr>
        <p:spPr>
          <a:xfrm>
            <a:off x="2435225" y="3114675"/>
            <a:ext cx="2912142" cy="2400300"/>
          </a:xfrm>
          <a:custGeom>
            <a:avLst/>
            <a:gdLst>
              <a:gd name="connsiteX0" fmla="*/ 0 w 2912142"/>
              <a:gd name="connsiteY0" fmla="*/ 2400300 h 2400300"/>
              <a:gd name="connsiteX1" fmla="*/ 1022350 w 2912142"/>
              <a:gd name="connsiteY1" fmla="*/ 1879600 h 2400300"/>
              <a:gd name="connsiteX2" fmla="*/ 1739900 w 2912142"/>
              <a:gd name="connsiteY2" fmla="*/ 1473200 h 2400300"/>
              <a:gd name="connsiteX3" fmla="*/ 2197100 w 2912142"/>
              <a:gd name="connsiteY3" fmla="*/ 1184275 h 2400300"/>
              <a:gd name="connsiteX4" fmla="*/ 2492375 w 2912142"/>
              <a:gd name="connsiteY4" fmla="*/ 955675 h 2400300"/>
              <a:gd name="connsiteX5" fmla="*/ 2768600 w 2912142"/>
              <a:gd name="connsiteY5" fmla="*/ 663575 h 2400300"/>
              <a:gd name="connsiteX6" fmla="*/ 2886075 w 2912142"/>
              <a:gd name="connsiteY6" fmla="*/ 450850 h 2400300"/>
              <a:gd name="connsiteX7" fmla="*/ 2908300 w 2912142"/>
              <a:gd name="connsiteY7" fmla="*/ 165100 h 2400300"/>
              <a:gd name="connsiteX8" fmla="*/ 2828925 w 2912142"/>
              <a:gd name="connsiteY8" fmla="*/ 0 h 2400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12142" h="2400300">
                <a:moveTo>
                  <a:pt x="0" y="2400300"/>
                </a:moveTo>
                <a:lnTo>
                  <a:pt x="1022350" y="1879600"/>
                </a:lnTo>
                <a:cubicBezTo>
                  <a:pt x="1312333" y="1725083"/>
                  <a:pt x="1544108" y="1589088"/>
                  <a:pt x="1739900" y="1473200"/>
                </a:cubicBezTo>
                <a:cubicBezTo>
                  <a:pt x="1935692" y="1357312"/>
                  <a:pt x="2071688" y="1270529"/>
                  <a:pt x="2197100" y="1184275"/>
                </a:cubicBezTo>
                <a:cubicBezTo>
                  <a:pt x="2322512" y="1098021"/>
                  <a:pt x="2397125" y="1042458"/>
                  <a:pt x="2492375" y="955675"/>
                </a:cubicBezTo>
                <a:cubicBezTo>
                  <a:pt x="2587625" y="868892"/>
                  <a:pt x="2702983" y="747712"/>
                  <a:pt x="2768600" y="663575"/>
                </a:cubicBezTo>
                <a:cubicBezTo>
                  <a:pt x="2834217" y="579438"/>
                  <a:pt x="2862792" y="533929"/>
                  <a:pt x="2886075" y="450850"/>
                </a:cubicBezTo>
                <a:cubicBezTo>
                  <a:pt x="2909358" y="367771"/>
                  <a:pt x="2917825" y="240242"/>
                  <a:pt x="2908300" y="165100"/>
                </a:cubicBezTo>
                <a:cubicBezTo>
                  <a:pt x="2898775" y="89958"/>
                  <a:pt x="2831042" y="30692"/>
                  <a:pt x="2828925" y="0"/>
                </a:cubicBezTo>
              </a:path>
            </a:pathLst>
          </a:cu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is executed from right</a:t>
            </a:r>
          </a:p>
        </p:txBody>
      </p:sp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116381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2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7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soli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1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rule may apply only when well clear condition is guaranteed</a:t>
            </a:r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1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06331" y="83404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93875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4):</a:t>
            </a:r>
            <a:br>
              <a:rPr lang="en-US" dirty="0"/>
            </a:br>
            <a:r>
              <a:rPr lang="en-US" dirty="0"/>
              <a:t>	 Rule-based overtake</a:t>
            </a:r>
          </a:p>
        </p:txBody>
      </p:sp>
      <p:pic>
        <p:nvPicPr>
          <p:cNvPr id="5" name="ruleOvertake2x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22273" b="22491"/>
          <a:stretch/>
        </p:blipFill>
        <p:spPr>
          <a:xfrm>
            <a:off x="0" y="2247899"/>
            <a:ext cx="9144000" cy="2840737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979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46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fferent speed:</a:t>
            </a:r>
            <a:br>
              <a:rPr lang="en-US" dirty="0"/>
            </a:br>
            <a:r>
              <a:rPr lang="en-US" dirty="0"/>
              <a:t>	 Overtake Maneuver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790841"/>
            <a:ext cx="9144001" cy="439291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162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operative vs. Noncooperative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ulti-Collision  Situation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8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8037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operative </a:t>
            </a:r>
            <a:r>
              <a:rPr lang="en-US" dirty="0"/>
              <a:t>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6</a:t>
            </a:fld>
            <a:endParaRPr lang="en-US" dirty="0"/>
          </a:p>
        </p:txBody>
      </p:sp>
      <p:pic>
        <p:nvPicPr>
          <p:cNvPr id="5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8" y="574356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sp>
        <p:nvSpPr>
          <p:cNvPr id="13" name="Rounded Rectangle 9"/>
          <p:cNvSpPr/>
          <p:nvPr/>
        </p:nvSpPr>
        <p:spPr>
          <a:xfrm>
            <a:off x="3649460" y="3029395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5" name="Straight Arrow Connector 14"/>
          <p:cNvCxnSpPr>
            <a:cxnSpLocks/>
            <a:stCxn id="5" idx="3"/>
            <a:endCxn id="13" idx="0"/>
          </p:cNvCxnSpPr>
          <p:nvPr/>
        </p:nvCxnSpPr>
        <p:spPr>
          <a:xfrm>
            <a:off x="2156846" y="1193483"/>
            <a:ext cx="2398625" cy="1835912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9" name="Straight Arrow Connector 14"/>
          <p:cNvCxnSpPr>
            <a:cxnSpLocks/>
            <a:stCxn id="7" idx="1"/>
            <a:endCxn id="13" idx="0"/>
          </p:cNvCxnSpPr>
          <p:nvPr/>
        </p:nvCxnSpPr>
        <p:spPr>
          <a:xfrm rot="10800000" flipV="1">
            <a:off x="4555471" y="1199137"/>
            <a:ext cx="2591678" cy="1830257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Arrow Connector 14"/>
          <p:cNvCxnSpPr>
            <a:cxnSpLocks/>
            <a:stCxn id="8" idx="1"/>
            <a:endCxn id="13" idx="2"/>
          </p:cNvCxnSpPr>
          <p:nvPr/>
        </p:nvCxnSpPr>
        <p:spPr>
          <a:xfrm rot="10800000">
            <a:off x="4555472" y="3943795"/>
            <a:ext cx="2591677" cy="2018708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14"/>
          <p:cNvCxnSpPr>
            <a:cxnSpLocks/>
            <a:stCxn id="6" idx="3"/>
            <a:endCxn id="13" idx="2"/>
          </p:cNvCxnSpPr>
          <p:nvPr/>
        </p:nvCxnSpPr>
        <p:spPr>
          <a:xfrm flipV="1">
            <a:off x="2156846" y="3943795"/>
            <a:ext cx="2398625" cy="2018049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2" name="Connector: Curved 31"/>
          <p:cNvCxnSpPr>
            <a:cxnSpLocks/>
            <a:stCxn id="13" idx="3"/>
            <a:endCxn id="11" idx="2"/>
          </p:cNvCxnSpPr>
          <p:nvPr/>
        </p:nvCxnSpPr>
        <p:spPr>
          <a:xfrm flipV="1">
            <a:off x="5461482" y="1911188"/>
            <a:ext cx="2366004" cy="157540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6" name="Connector: Curved 35"/>
          <p:cNvCxnSpPr>
            <a:cxnSpLocks/>
            <a:stCxn id="13" idx="3"/>
            <a:endCxn id="12" idx="0"/>
          </p:cNvCxnSpPr>
          <p:nvPr/>
        </p:nvCxnSpPr>
        <p:spPr>
          <a:xfrm>
            <a:off x="5461482" y="3486595"/>
            <a:ext cx="2366004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1" name="Connector: Curved 40"/>
          <p:cNvCxnSpPr>
            <a:cxnSpLocks/>
            <a:stCxn id="13" idx="1"/>
            <a:endCxn id="10" idx="0"/>
          </p:cNvCxnSpPr>
          <p:nvPr/>
        </p:nvCxnSpPr>
        <p:spPr>
          <a:xfrm rot="10800000" flipV="1">
            <a:off x="1476510" y="3486595"/>
            <a:ext cx="2172951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Connector: Curved 43"/>
          <p:cNvCxnSpPr>
            <a:cxnSpLocks/>
            <a:stCxn id="13" idx="1"/>
            <a:endCxn id="9" idx="2"/>
          </p:cNvCxnSpPr>
          <p:nvPr/>
        </p:nvCxnSpPr>
        <p:spPr>
          <a:xfrm rot="10800000">
            <a:off x="1476510" y="1899879"/>
            <a:ext cx="2172951" cy="158671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2250727" y="1258011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4808998" y="1261708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2250727" y="5504359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4808998" y="5508056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70" name="TextBox 69"/>
          <p:cNvSpPr txBox="1"/>
          <p:nvPr/>
        </p:nvSpPr>
        <p:spPr>
          <a:xfrm rot="1982270">
            <a:off x="1850616" y="27158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1" name="TextBox 70"/>
          <p:cNvSpPr txBox="1"/>
          <p:nvPr/>
        </p:nvSpPr>
        <p:spPr>
          <a:xfrm rot="19461386">
            <a:off x="1863265" y="3939858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2" name="TextBox 71"/>
          <p:cNvSpPr txBox="1"/>
          <p:nvPr/>
        </p:nvSpPr>
        <p:spPr>
          <a:xfrm rot="19837710">
            <a:off x="6148964" y="2744274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3" name="TextBox 72"/>
          <p:cNvSpPr txBox="1"/>
          <p:nvPr/>
        </p:nvSpPr>
        <p:spPr>
          <a:xfrm rot="1942896">
            <a:off x="6148963" y="39097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4" name="Speech Bubble: Rectangle with Corners Rounded 73"/>
          <p:cNvSpPr/>
          <p:nvPr/>
        </p:nvSpPr>
        <p:spPr>
          <a:xfrm>
            <a:off x="2469417" y="1914979"/>
            <a:ext cx="1846662" cy="715089"/>
          </a:xfrm>
          <a:prstGeom prst="wedgeRoundRectCallout">
            <a:avLst>
              <a:gd name="adj1" fmla="val 29636"/>
              <a:gd name="adj2" fmla="val 105535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alculate collision Cases</a:t>
            </a:r>
          </a:p>
        </p:txBody>
      </p:sp>
      <p:sp>
        <p:nvSpPr>
          <p:cNvPr id="75" name="Speech Bubble: Rectangle with Corners Rounded 74"/>
          <p:cNvSpPr/>
          <p:nvPr/>
        </p:nvSpPr>
        <p:spPr>
          <a:xfrm>
            <a:off x="4871231" y="1891114"/>
            <a:ext cx="1846662" cy="715089"/>
          </a:xfrm>
          <a:prstGeom prst="wedgeRoundRectCallout">
            <a:avLst>
              <a:gd name="adj1" fmla="val -45591"/>
              <a:gd name="adj2" fmla="val 107994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reate Virtual</a:t>
            </a: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Roundabout</a:t>
            </a:r>
          </a:p>
        </p:txBody>
      </p:sp>
      <p:sp>
        <p:nvSpPr>
          <p:cNvPr id="76" name="Speech Bubble: Rectangle with Corners Rounded 75"/>
          <p:cNvSpPr/>
          <p:nvPr/>
        </p:nvSpPr>
        <p:spPr>
          <a:xfrm>
            <a:off x="2463815" y="4307271"/>
            <a:ext cx="1846662" cy="715089"/>
          </a:xfrm>
          <a:prstGeom prst="wedgeRoundRectCallout">
            <a:avLst>
              <a:gd name="adj1" fmla="val 44396"/>
              <a:gd name="adj2" fmla="val -96109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Send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7" name="Speech Bubble: Rectangle with Corners Rounded 76"/>
          <p:cNvSpPr/>
          <p:nvPr/>
        </p:nvSpPr>
        <p:spPr>
          <a:xfrm>
            <a:off x="4866221" y="4307271"/>
            <a:ext cx="1846662" cy="715089"/>
          </a:xfrm>
          <a:prstGeom prst="wedgeRoundRectCallout">
            <a:avLst>
              <a:gd name="adj1" fmla="val -39877"/>
              <a:gd name="adj2" fmla="val -92420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Enforce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8" name="Octagon 77"/>
          <p:cNvSpPr/>
          <p:nvPr/>
        </p:nvSpPr>
        <p:spPr>
          <a:xfrm>
            <a:off x="2321290" y="1722777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1</a:t>
            </a:r>
          </a:p>
        </p:txBody>
      </p:sp>
      <p:sp>
        <p:nvSpPr>
          <p:cNvPr id="79" name="Octagon 78"/>
          <p:cNvSpPr/>
          <p:nvPr/>
        </p:nvSpPr>
        <p:spPr>
          <a:xfrm>
            <a:off x="6491363" y="1665954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2</a:t>
            </a:r>
          </a:p>
        </p:txBody>
      </p:sp>
      <p:sp>
        <p:nvSpPr>
          <p:cNvPr id="80" name="Octagon 79"/>
          <p:cNvSpPr/>
          <p:nvPr/>
        </p:nvSpPr>
        <p:spPr>
          <a:xfrm>
            <a:off x="2321290" y="4758319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3</a:t>
            </a:r>
          </a:p>
        </p:txBody>
      </p:sp>
      <p:sp>
        <p:nvSpPr>
          <p:cNvPr id="81" name="Octagon 80"/>
          <p:cNvSpPr/>
          <p:nvPr/>
        </p:nvSpPr>
        <p:spPr>
          <a:xfrm>
            <a:off x="6482994" y="4766822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979610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3): </a:t>
            </a:r>
            <a:br>
              <a:rPr lang="en-US" dirty="0"/>
            </a:br>
            <a:r>
              <a:rPr lang="en-US" dirty="0"/>
              <a:t>	Rule-based mixed head-on with converg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7</a:t>
            </a:fld>
            <a:endParaRPr lang="en-US" dirty="0"/>
          </a:p>
        </p:txBody>
      </p:sp>
      <p:pic>
        <p:nvPicPr>
          <p:cNvPr id="8" name="rule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22789" r="22693"/>
          <a:stretch/>
        </p:blipFill>
        <p:spPr>
          <a:xfrm>
            <a:off x="1846384" y="1225260"/>
            <a:ext cx="5460023" cy="5632740"/>
          </a:xfrm>
        </p:spPr>
      </p:pic>
    </p:spTree>
    <p:extLst>
      <p:ext uri="{BB962C8B-B14F-4D97-AF65-F5344CB8AC3E}">
        <p14:creationId xmlns:p14="http://schemas.microsoft.com/office/powerpoint/2010/main" val="562944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0704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n-cooperative 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8</a:t>
            </a:fld>
            <a:endParaRPr lang="en-US" dirty="0"/>
          </a:p>
        </p:txBody>
      </p:sp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574855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cxnSp>
        <p:nvCxnSpPr>
          <p:cNvPr id="17" name="Straight Arrow Connector 16"/>
          <p:cNvCxnSpPr>
            <a:stCxn id="6" idx="3"/>
            <a:endCxn id="9" idx="1"/>
          </p:cNvCxnSpPr>
          <p:nvPr/>
        </p:nvCxnSpPr>
        <p:spPr>
          <a:xfrm>
            <a:off x="2156846" y="1193483"/>
            <a:ext cx="4990303" cy="5655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cxnSpLocks/>
            <a:stCxn id="12" idx="2"/>
            <a:endCxn id="13" idx="0"/>
          </p:cNvCxnSpPr>
          <p:nvPr/>
        </p:nvCxnSpPr>
        <p:spPr>
          <a:xfrm>
            <a:off x="1476509" y="1899878"/>
            <a:ext cx="0" cy="335557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cxnSpLocks/>
            <a:stCxn id="6" idx="3"/>
            <a:endCxn id="15" idx="1"/>
          </p:cNvCxnSpPr>
          <p:nvPr/>
        </p:nvCxnSpPr>
        <p:spPr>
          <a:xfrm>
            <a:off x="2156846" y="1193483"/>
            <a:ext cx="5244882" cy="424663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cxnSpLocks/>
            <a:stCxn id="15" idx="1"/>
            <a:endCxn id="6" idx="3"/>
          </p:cNvCxnSpPr>
          <p:nvPr/>
        </p:nvCxnSpPr>
        <p:spPr>
          <a:xfrm rot="10800000">
            <a:off x="2156846" y="1193483"/>
            <a:ext cx="5244882" cy="4246632"/>
          </a:xfrm>
          <a:prstGeom prst="curvedConnector3">
            <a:avLst>
              <a:gd name="adj1" fmla="val -5320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8" name="Straight Arrow Connector 24"/>
          <p:cNvCxnSpPr>
            <a:cxnSpLocks/>
            <a:stCxn id="8" idx="1"/>
            <a:endCxn id="12" idx="0"/>
          </p:cNvCxnSpPr>
          <p:nvPr/>
        </p:nvCxnSpPr>
        <p:spPr>
          <a:xfrm rot="10800000" flipH="1">
            <a:off x="796171" y="1530546"/>
            <a:ext cx="680337" cy="4431298"/>
          </a:xfrm>
          <a:prstGeom prst="curvedConnector4">
            <a:avLst>
              <a:gd name="adj1" fmla="val -33601"/>
              <a:gd name="adj2" fmla="val 103572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24"/>
          <p:cNvCxnSpPr>
            <a:cxnSpLocks/>
            <a:endCxn id="12" idx="0"/>
          </p:cNvCxnSpPr>
          <p:nvPr/>
        </p:nvCxnSpPr>
        <p:spPr>
          <a:xfrm rot="10800000">
            <a:off x="1476509" y="1530546"/>
            <a:ext cx="5670642" cy="4341796"/>
          </a:xfrm>
          <a:prstGeom prst="curvedConnector4">
            <a:avLst>
              <a:gd name="adj1" fmla="val 77566"/>
              <a:gd name="adj2" fmla="val 99798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" name="Thought Bubble: Cloud 10"/>
          <p:cNvSpPr/>
          <p:nvPr/>
        </p:nvSpPr>
        <p:spPr>
          <a:xfrm>
            <a:off x="2156846" y="2175235"/>
            <a:ext cx="5109329" cy="2248853"/>
          </a:xfrm>
          <a:prstGeom prst="cloudCallout">
            <a:avLst>
              <a:gd name="adj1" fmla="val -2765"/>
              <a:gd name="adj2" fmla="val 78139"/>
            </a:avLst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2"/>
                </a:solidFill>
              </a:rPr>
              <a:t>Consensus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1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2: Vertic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3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4: Vertical Separation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3711677" y="871152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2" name="TextBox 61"/>
          <p:cNvSpPr txBox="1"/>
          <p:nvPr/>
        </p:nvSpPr>
        <p:spPr>
          <a:xfrm rot="2153370">
            <a:off x="3231726" y="1804336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3" name="TextBox 62"/>
          <p:cNvSpPr txBox="1"/>
          <p:nvPr/>
        </p:nvSpPr>
        <p:spPr>
          <a:xfrm rot="16200000">
            <a:off x="916047" y="3747138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4" name="TextBox 63"/>
          <p:cNvSpPr txBox="1"/>
          <p:nvPr/>
        </p:nvSpPr>
        <p:spPr>
          <a:xfrm rot="877638">
            <a:off x="5045413" y="5316414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5" name="TextBox 64"/>
          <p:cNvSpPr txBox="1"/>
          <p:nvPr/>
        </p:nvSpPr>
        <p:spPr>
          <a:xfrm rot="1944166">
            <a:off x="6250351" y="1896021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6" name="TextBox 65"/>
          <p:cNvSpPr txBox="1"/>
          <p:nvPr/>
        </p:nvSpPr>
        <p:spPr>
          <a:xfrm rot="16200000">
            <a:off x="-241293" y="3747809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</p:spTree>
    <p:extLst>
      <p:ext uri="{BB962C8B-B14F-4D97-AF65-F5344CB8AC3E}">
        <p14:creationId xmlns:p14="http://schemas.microsoft.com/office/powerpoint/2010/main" val="3398261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578" y="0"/>
            <a:ext cx="8002359" cy="856420"/>
          </a:xfrm>
        </p:spPr>
        <p:txBody>
          <a:bodyPr/>
          <a:lstStyle/>
          <a:p>
            <a:r>
              <a:rPr lang="en-US" dirty="0"/>
              <a:t>Context of  SAA:</a:t>
            </a:r>
            <a:br>
              <a:rPr lang="en-US" dirty="0"/>
            </a:br>
            <a:r>
              <a:rPr lang="en-US" dirty="0"/>
              <a:t>	Reactive Sense &amp; Avoid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814D0C-58DA-754D-96DF-668AE432F1BF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Neue MediumCond"/>
                <a:ea typeface="+mn-e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Neue MediumCond"/>
              <a:ea typeface="+mn-ea"/>
            </a:endParaRPr>
          </a:p>
        </p:txBody>
      </p:sp>
      <p:pic>
        <p:nvPicPr>
          <p:cNvPr id="17" name="Picture 2" descr="Image result for quadcopter icon fre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406" y="1248575"/>
            <a:ext cx="1176657" cy="117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ounded Rectangle 18"/>
              <p:cNvSpPr/>
              <p:nvPr/>
            </p:nvSpPr>
            <p:spPr>
              <a:xfrm>
                <a:off x="7218095" y="1379703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9" name="Rounded Rectangle 1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18095" y="1379703"/>
                <a:ext cx="1755972" cy="914400"/>
              </a:xfrm>
              <a:prstGeom prst="roundRect">
                <a:avLst/>
              </a:prstGeom>
              <a:blipFill rotWithShape="0"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Rounded Rectangle 19"/>
              <p:cNvSpPr/>
              <p:nvPr/>
            </p:nvSpPr>
            <p:spPr>
              <a:xfrm>
                <a:off x="7160102" y="49712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0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60102" y="4971218"/>
                <a:ext cx="1755972" cy="914400"/>
              </a:xfrm>
              <a:prstGeom prst="roundRect">
                <a:avLst/>
              </a:prstGeom>
              <a:blipFill rotWithShape="0">
                <a:blip r:embed="rId5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ounded Rectangle 20"/>
              <p:cNvSpPr/>
              <p:nvPr/>
            </p:nvSpPr>
            <p:spPr>
              <a:xfrm>
                <a:off x="514578" y="49712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3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1" name="Rounded Rectangle 2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4578" y="4971218"/>
                <a:ext cx="1755972" cy="914400"/>
              </a:xfrm>
              <a:prstGeom prst="roundRect">
                <a:avLst/>
              </a:prstGeom>
              <a:blipFill rotWithShape="0">
                <a:blip r:embed="rId6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Down Arrow 6"/>
          <p:cNvSpPr/>
          <p:nvPr/>
        </p:nvSpPr>
        <p:spPr>
          <a:xfrm>
            <a:off x="7930194" y="2294103"/>
            <a:ext cx="339865" cy="2677115"/>
          </a:xfrm>
          <a:prstGeom prst="down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Left Arrow 8"/>
          <p:cNvSpPr/>
          <p:nvPr/>
        </p:nvSpPr>
        <p:spPr>
          <a:xfrm>
            <a:off x="2270550" y="5215333"/>
            <a:ext cx="4889552" cy="426170"/>
          </a:xfrm>
          <a:prstGeom prst="left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ned path</a:t>
            </a:r>
          </a:p>
        </p:txBody>
      </p:sp>
      <p:sp>
        <p:nvSpPr>
          <p:cNvPr id="11" name="Pie 10"/>
          <p:cNvSpPr/>
          <p:nvPr/>
        </p:nvSpPr>
        <p:spPr>
          <a:xfrm>
            <a:off x="-1157836" y="930604"/>
            <a:ext cx="6093977" cy="1812598"/>
          </a:xfrm>
          <a:prstGeom prst="pie">
            <a:avLst>
              <a:gd name="adj1" fmla="val 17562099"/>
              <a:gd name="adj2" fmla="val 4103667"/>
            </a:avLst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Field of Vision</a:t>
            </a:r>
          </a:p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   (FOV)</a:t>
            </a:r>
          </a:p>
        </p:txBody>
      </p:sp>
      <p:sp>
        <p:nvSpPr>
          <p:cNvPr id="12" name="7-Point Star 11"/>
          <p:cNvSpPr/>
          <p:nvPr/>
        </p:nvSpPr>
        <p:spPr>
          <a:xfrm>
            <a:off x="4084822" y="1147063"/>
            <a:ext cx="1982548" cy="1181437"/>
          </a:xfrm>
          <a:prstGeom prst="star7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</a:t>
            </a:r>
          </a:p>
        </p:txBody>
      </p:sp>
      <p:sp>
        <p:nvSpPr>
          <p:cNvPr id="16" name="Curved Up Arrow 15"/>
          <p:cNvSpPr/>
          <p:nvPr/>
        </p:nvSpPr>
        <p:spPr>
          <a:xfrm>
            <a:off x="1108609" y="2294103"/>
            <a:ext cx="6929479" cy="1285250"/>
          </a:xfrm>
          <a:prstGeom prst="curvedUpArrow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oidance execution</a:t>
            </a:r>
          </a:p>
        </p:txBody>
      </p:sp>
      <p:sp>
        <p:nvSpPr>
          <p:cNvPr id="23" name="Rounded Rectangular Callout 22"/>
          <p:cNvSpPr/>
          <p:nvPr/>
        </p:nvSpPr>
        <p:spPr>
          <a:xfrm>
            <a:off x="619530" y="3788730"/>
            <a:ext cx="2539243" cy="952187"/>
          </a:xfrm>
          <a:prstGeom prst="wedgeRoundRectCallout">
            <a:avLst>
              <a:gd name="adj1" fmla="val -39316"/>
              <a:gd name="adj2" fmla="val -209448"/>
              <a:gd name="adj3" fmla="val 16667"/>
            </a:avLst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 detection</a:t>
            </a:r>
          </a:p>
        </p:txBody>
      </p:sp>
      <p:sp>
        <p:nvSpPr>
          <p:cNvPr id="24" name="Rectangle 23"/>
          <p:cNvSpPr/>
          <p:nvPr/>
        </p:nvSpPr>
        <p:spPr>
          <a:xfrm>
            <a:off x="373536" y="2889020"/>
            <a:ext cx="8683580" cy="175432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 w="13462">
                  <a:solidFill>
                    <a:srgbClr val="FFFFFF"/>
                  </a:solidFill>
                  <a:prstDash val="solid"/>
                </a:ln>
                <a:solidFill>
                  <a:srgbClr val="000000">
                    <a:lumMod val="85000"/>
                    <a:lumOff val="15000"/>
                  </a:srgbClr>
                </a:solidFill>
                <a:effectLst>
                  <a:outerShdw dist="38100" dir="2700000" algn="bl" rotWithShape="0">
                    <a:srgbClr val="FFC627"/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rPr>
              <a:t>Reactive obstacle avoidance</a:t>
            </a:r>
          </a:p>
        </p:txBody>
      </p:sp>
    </p:spTree>
    <p:extLst>
      <p:ext uri="{BB962C8B-B14F-4D97-AF65-F5344CB8AC3E}">
        <p14:creationId xmlns:p14="http://schemas.microsoft.com/office/powerpoint/2010/main" val="207202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2" grpId="1" animBg="1"/>
      <p:bldP spid="16" grpId="0" animBg="1"/>
      <p:bldP spid="23" grpId="0" animBg="1"/>
      <p:bldP spid="24" grpId="0"/>
    </p:bld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7): </a:t>
            </a:r>
            <a:br>
              <a:rPr lang="en-US" dirty="0"/>
            </a:br>
            <a:r>
              <a:rPr lang="en-US" dirty="0"/>
              <a:t>	Emergency mixed head-on with converging</a:t>
            </a:r>
          </a:p>
        </p:txBody>
      </p:sp>
      <p:pic>
        <p:nvPicPr>
          <p:cNvPr id="5" name="emergency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4973" r="4568"/>
          <a:stretch/>
        </p:blipFill>
        <p:spPr>
          <a:xfrm>
            <a:off x="-8793" y="1163875"/>
            <a:ext cx="9144001" cy="568533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3044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760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: </a:t>
            </a:r>
            <a:br>
              <a:rPr lang="en-US" dirty="0"/>
            </a:br>
            <a:r>
              <a:rPr lang="en-US" dirty="0"/>
              <a:t>	Non-cooperative separation scenario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349317"/>
            <a:ext cx="9144001" cy="515389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5985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s results – non-cooperativ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52" y="1193483"/>
            <a:ext cx="8048708" cy="5389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709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s results – cooperativ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52" y="1193483"/>
            <a:ext cx="8048708" cy="4247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785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A9B96B-F03C-4682-874C-80372816E7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56984C-6C09-43A3-9B94-3414880A11C7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Contributions:</a:t>
            </a:r>
          </a:p>
          <a:p>
            <a:r>
              <a:rPr lang="en-US" dirty="0"/>
              <a:t>Reach Set Approximation methods</a:t>
            </a:r>
          </a:p>
          <a:p>
            <a:r>
              <a:rPr lang="en-US" dirty="0"/>
              <a:t>Scalable navigation algorithm</a:t>
            </a:r>
          </a:p>
          <a:p>
            <a:r>
              <a:rPr lang="en-US" dirty="0"/>
              <a:t>Portable D&amp;A solution</a:t>
            </a:r>
          </a:p>
          <a:p>
            <a:endParaRPr lang="en-US" dirty="0"/>
          </a:p>
          <a:p>
            <a:r>
              <a:rPr lang="en-US" dirty="0"/>
              <a:t>UTM services for phase II. &amp; III.</a:t>
            </a:r>
          </a:p>
          <a:p>
            <a:r>
              <a:rPr lang="en-US" dirty="0"/>
              <a:t>Set of test scenarios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63A3ED-33C6-4186-8C29-1F13D7F2A81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3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DC38E4B-4920-461A-864C-9C297752467F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Reach Set Approximation:</a:t>
            </a:r>
          </a:p>
          <a:p>
            <a:r>
              <a:rPr lang="en-US" dirty="0"/>
              <a:t>Reach set approximated as </a:t>
            </a:r>
            <a:br>
              <a:rPr lang="en-US" dirty="0"/>
            </a:br>
            <a:r>
              <a:rPr lang="en-US" i="1" u="sng" dirty="0"/>
              <a:t>a set of discrete trajectories</a:t>
            </a:r>
          </a:p>
          <a:p>
            <a:r>
              <a:rPr lang="en-US" dirty="0"/>
              <a:t>Relationship between trajectories and operational space - </a:t>
            </a:r>
            <a:r>
              <a:rPr lang="en-US" i="1" u="sng" dirty="0"/>
              <a:t>coverage</a:t>
            </a:r>
          </a:p>
          <a:p>
            <a:r>
              <a:rPr lang="en-US" dirty="0"/>
              <a:t>Minimal reach set representation</a:t>
            </a:r>
          </a:p>
          <a:p>
            <a:r>
              <a:rPr lang="en-US" dirty="0"/>
              <a:t>Behavior encoded in Reach set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5D75739-EB5A-4F1E-A3CD-92DD4569462F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Approach avoidance capabilities:</a:t>
            </a:r>
          </a:p>
          <a:p>
            <a:r>
              <a:rPr lang="en-US" dirty="0"/>
              <a:t>Static obstacles a</a:t>
            </a:r>
          </a:p>
          <a:p>
            <a:r>
              <a:rPr lang="en-US" dirty="0"/>
              <a:t>(Non-)cooperative intruders</a:t>
            </a:r>
          </a:p>
          <a:p>
            <a:r>
              <a:rPr lang="en-US" dirty="0"/>
              <a:t>Geo-fenced areas</a:t>
            </a:r>
          </a:p>
          <a:p>
            <a:r>
              <a:rPr lang="en-US" dirty="0"/>
              <a:t>Weather threats</a:t>
            </a:r>
          </a:p>
          <a:p>
            <a:endParaRPr lang="en-US" dirty="0"/>
          </a:p>
          <a:p>
            <a:r>
              <a:rPr lang="en-US" dirty="0"/>
              <a:t>UTM Resolutions (Rule engine)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1FFDA19D-8D31-4199-9261-0D05BFD34BB2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Approach reusability/portability:</a:t>
            </a:r>
          </a:p>
          <a:p>
            <a:r>
              <a:rPr lang="en-US" dirty="0"/>
              <a:t>Abstract data fusion procedure</a:t>
            </a:r>
          </a:p>
          <a:p>
            <a:r>
              <a:rPr lang="en-US" dirty="0"/>
              <a:t>Control interface as discrete command chain (movements)</a:t>
            </a:r>
          </a:p>
          <a:p>
            <a:endParaRPr lang="en-US" dirty="0"/>
          </a:p>
          <a:p>
            <a:r>
              <a:rPr lang="en-US" dirty="0"/>
              <a:t>Events &amp; decision making</a:t>
            </a:r>
          </a:p>
          <a:p>
            <a:r>
              <a:rPr lang="en-US"/>
              <a:t>UTM services defini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6844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 Ses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4</a:t>
            </a:fld>
            <a:endParaRPr lang="en-US" dirty="0"/>
          </a:p>
        </p:txBody>
      </p:sp>
      <p:pic>
        <p:nvPicPr>
          <p:cNvPr id="5" name="Picture 2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856420"/>
            <a:ext cx="2857500" cy="2628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4775" y="832593"/>
            <a:ext cx="4819650" cy="2886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3694841"/>
            <a:ext cx="4347991" cy="2539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0754" y="3865490"/>
            <a:ext cx="3236183" cy="2157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3948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09.9362"/>
  <p:tag name="ORIGINALWIDTH" val="4131.233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4}&#10; \setcounter{equation}{5}&#10; \begin{equation}\label{eq:missionAbstractSet}&#10;        Mission = \left\{&#10;        \begin{aligned}&#10;            &amp;waypoint_1, waypoint_2, \dots,waypoint_m:\\&#10;            &amp;\forall_{i=1\dots m} waypoint_i \in  Space&#10;        \end{aligned}&#10;        \right\}, \quad m\in\N^{+},m\ge2&#10;    \end{equation}&#10;&#10;&#10;&#10;\end{document}"/>
  <p:tag name="IGUANATEXSIZE" val="20"/>
  <p:tag name="IGUANATEXCURSOR" val="3773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10.4612"/>
  <p:tag name="ORIGINALWIDTH" val="4158.23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4}&#10; \setcounter{equation}{20}&#10; \begin{multline}\label{eq:safetyMarginAbstract}&#10;        \forall t\in [missionStart,missionEnd]:\\distance(x(t),Occupied(t),t) \ge safetyMargin&#10;    \end{multline}&#10;&#10;&#10;&#10;\end{document}"/>
  <p:tag name="IGUANATEXSIZE" val="20"/>
  <p:tag name="IGUANATEXCURSOR" val="3645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00.3"/>
  <p:tag name="ORIGINALWIDTH" val="3532.059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0}&#10; \begin{equation}\label{eq:simple3dStatevector}&#10;  state = \left [ x,y,z, roll, pitch, yaw \right]^T&#10; \end{equation}&#10; &#10; \setcounter{chapter}{6}&#10; \setcounter{equation}{1}&#10; \begin{equation}\label{eq:simple3dInputVector}&#10;  input = \left [ v, \omega_{roll}, \omega_{pitch},\omega_{yaw}\right ]^T&#10; \end{equation}&#10; &#10; \setcounter{chapter}{6}&#10; \setcounter{equation}{3}&#10; \begin{equation}\label{eq:UASNonlinearModelSimple}&#10;  \begin{aligned}&#10;   \frac{\text{d} x}{\text{d} time} &amp;= v\cos(pitch)\cos(yaw);\\&#10;   \frac{\text{d} y}{\text{d} time} &amp;= v\cos(pitch)\sin(yaw);\\&#10;   \frac{\text{d} z}{\text{d} time} &amp;= -v\sin(pitch);\\&#10;  \end{aligned}\\\quad\quad&#10;  \begin{aligned}&#10;   \frac{\text{d} roll}{\text{d} time} &amp;= \omega_{roll};\\&#10;   \frac{\text{d} pitch}{\text{d} time} &amp;= \omega_{pitch};\\&#10;   \frac{\text{d} yaw}{\text{d} time} &amp;= \omega_{yaw};\\&#10;  \end{aligned}&#10; \end{equation}&#10;&#10;&#10;&#10;\end{document}"/>
  <p:tag name="IGUANATEXSIZE" val="20"/>
  <p:tag name="IGUANATEXCURSOR" val="4350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73.4533"/>
  <p:tag name="ORIGINALWIDTH" val="4027.746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0}&#10; \begin{equation}\label{eq:OurMovementSet}&#10;        Movement Set= \left\{&#10;        \begin{gathered}&#10;            Straight, Left,Right, Up, Down,\\&#10;            Down Left, Down Right,  Up Left,   Up Right&#10;        \end{gathered}&#10;        \right\}&#10;    \end{equation}&#10;&#10;&#10;&#10;\end{document}"/>
  <p:tag name="IGUANATEXSIZE" val="20"/>
  <p:tag name="IGUANATEXCURSOR" val="3741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73.4533"/>
  <p:tag name="ORIGINALWIDTH" val="4203.225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1}&#10; \begin{equation}\label{eq:ourBuffer}&#10;  Buffer = \left\{&#10;     movement(j):&#10;     \begin{aligned}&#10;      &amp;movement(j)\in Movement Set (eq. 6.11),\\&#10;      &amp; j \in 1\dots n, n \in N^+&#10;     \end{aligned}&#10;    \right\}&#10; \end{equation}&#10;&#10;&#10;&#10;\end{document}"/>
  <p:tag name="IGUANATEXSIZE" val="20"/>
  <p:tag name="IGUANATEXCURSOR" val="3709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02.812"/>
  <p:tag name="ORIGINALWIDTH" val="4086.989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2} &#10; \begin{equation}\label{eq:ourTrajectoryEvolution}&#10;  \begin{aligned}&#10;  T&amp;rajectory(state(0),Buffer)=\\&#10;   &amp;\left\{&#10;   \begin{aligned}&#10;    state(0) &amp;= state(0),\\&#10;    state(1) &amp;= apply Movement\left(state(0), movement(1)\right),  \\&#10;    state(2) &amp;= apply Movement\left(state(1), movement(2)\right),  \\&#10;     \vdots  &amp;= \vdots\\&#10;    state(n-1) &amp;= apply Movement\left(state(n-2), movement(n-1)\right),  \\&#10;    state(n)   &amp;= apply Movement\left(state(n-1), movement(n)\right)  \\&#10;   \end{aligned}&#10;   \right\}&#10;  \end{aligned}&#10; \end{equation}&#10;&#10;&#10;&#10;\end{document}"/>
  <p:tag name="IGUANATEXSIZE" val="20"/>
  <p:tag name="IGUANATEXCURSOR" val="4020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70.3787"/>
  <p:tag name="ORIGINALWIDTH" val="4107.236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9}&#10; \begin{equation}\label{eq:avoidanceGridCellSpace}&#10;    Avoidance Grid = \left\{&#10;         cell_{i,j,k}:&#10;         \begin{aligned}&#10;          &amp; i \in 1 \dots layer Count\\&#10;          &amp; j \in 1 \dots horizontal Count\\&#10;          &amp; k \in 1 \dots vertical Count&#10;         \end{aligned} &#10;                     \right\}&#10; \end{equation}&#10; &#10; \setcounter{chapter}{6}&#10; \setcounter{equation}{20}&#10; \begin{equation}&#10;  \forall cell_{i,j,k}, cell_{m,n,o}:&#10;  \begin{aligned}&#10;      &amp;cell_{i,j,k}\cap cell_{m,n,o} = \varnothing,&#10;      i \neq o \lor j \neq n \lor k \neq o&#10;  \end{aligned}&#10; \end{equation}&#10;&#10;&#10;&#10;\end{document}"/>
  <p:tag name="IGUANATEXSIZE" val="20"/>
  <p:tag name="IGUANATEXCURSOR" val="4061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53.618"/>
  <p:tag name="ORIGINALWIDTH" val="4355.456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4}&#10; \begin{multline}\label{eq:boundedSpaceCell}&#10;        cell.space Portion = \dots\\&#10;            \left \{&#10;                \begin{aligned}&#10;                point&amp; \in \R^3 \text{ where}:\\&#10;                    &amp;\left(\begin{aligned}&#10;                        cell.distance_{start} &amp;&lt;&amp; point.distance &amp;\le&amp; cell.distance_{end},\\&#10;                        cell.horizontal^\circ_{start} &amp;&lt;&amp; point.horizontal^\circ &amp;\le&amp;  cell.horizontal^\circ_{end},\\&#10;                        cell.vertical^\circ_{start} &amp;&lt;&amp; point.vertical^\circ &amp;\le&amp; cell.vertical^\circ_{end}\\&#10;                    \end{aligned}\right)&#10;                \end{aligned}&#10;            \right\}&#10;    \end{multline}&#10;&#10;&#10;&#10;\end{document}"/>
  <p:tag name="IGUANATEXSIZE" val="20"/>
  <p:tag name="IGUANATEXCURSOR" val="4144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9.1675"/>
  <p:tag name="ORIGINALWIDTH" val="4343.457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22}&#10; \begin{equation}\label{eq:ReachSetDefinitionDiscrete}&#10;             ReachSet(\tau,time_0,state_0)=\left\{Trajectory(state_0,buffer):&#10;             \begin{gathered}&#10;                \text{duration}(buffer)\\ \le\\ (time_0-\tau)&#10;             \end{gathered}\right\}&#10;        \end{equation}&#10;   &#10;&#10;&#10;&#10;\end{document}"/>
  <p:tag name="IGUANATEXSIZE" val="20"/>
  <p:tag name="IGUANATEXCURSOR" val="3770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73.7158"/>
  <p:tag name="ORIGINALWIDTH" val="4379.453"/>
  <p:tag name="LATEXADDIN" val="\documentclass{report}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\setcounter{chapter}{4}&#10; \setcounter{equation}{9}&#10;\begin{equation}\label{eq:spaceCassificationFunction}&#10;        SpaceClassification: y \in \emph{Space} \mapsto s \in \{Free, Restricted, Occupied, Uncertain \}&#10;    \end{equation}&#10;&#10;&#10;&#10;\end{document}"/>
  <p:tag name="IGUANATEXSIZE" val="20"/>
  <p:tag name="IGUANATEXCURSOR" val="3635"/>
  <p:tag name="TRANSPARENCY" val="True"/>
  <p:tag name="FILENAME" val=""/>
  <p:tag name="LATEXENGINEID" val="0"/>
  <p:tag name="TEMPFOLDER" val="D:\Latex\"/>
  <p:tag name="LATEXFORMHEIGHT" val="312"/>
  <p:tag name="LATEXFORMWIDTH" val="384"/>
  <p:tag name="LATEXFORMWRAP" val="True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43.045"/>
  <p:tag name="ORIGINALWIDTH" val="4091.489"/>
  <p:tag name="LATEXADDIN" val="\documentclass{report}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\setcounter{chapter}{4}&#10; \setcounter{equation}{18}&#10; \begin{equation}\label{eq:DataFusionFunction}&#10;        DataFusion:&#10;        \left[&#10;        \begin{aligned}&#10;            &amp;InformationSource_1 \times\\&#10;            &amp;InformationSource_2 \times\\&#10;            &amp;\times\dots\times\\&#10;            &amp;InformationSource_l \times\\&#10;            &amp;SensorFusion(\dots)\times\\&#10;            &amp;Weather(\dots)\\&#10;            &amp;position\times\\&#10;            &amp;\textit{fixed time }t_{fix}\times\\&#10;            &amp;dataFusionParameters&#10;        \end{aligned}&#10;        \right]&#10;        \to &#10;        \begin{cases}&#10;            Free(t_{fix})\\&#10;            Occupied(t_{fix})\\&#10;            Restricted(t_{fix})\\&#10;            Uncertain(t_{fix})&#10;        \end{cases}&#10;    \end{equation}&#10;&#10;&#10;&#10;\end{document}"/>
  <p:tag name="IGUANATEXSIZE" val="20"/>
  <p:tag name="IGUANATEXCURSOR" val="4056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1_Honeywell Theme">
  <a:themeElements>
    <a:clrScheme name="Honeywell Branded Colors">
      <a:dk1>
        <a:srgbClr val="000000"/>
      </a:dk1>
      <a:lt1>
        <a:srgbClr val="FFFFFF"/>
      </a:lt1>
      <a:dk2>
        <a:srgbClr val="E1261C"/>
      </a:dk2>
      <a:lt2>
        <a:srgbClr val="FFFFFF"/>
      </a:lt2>
      <a:accent1>
        <a:srgbClr val="000000"/>
      </a:accent1>
      <a:accent2>
        <a:srgbClr val="707070"/>
      </a:accent2>
      <a:accent3>
        <a:srgbClr val="E1261C"/>
      </a:accent3>
      <a:accent4>
        <a:srgbClr val="F37021"/>
      </a:accent4>
      <a:accent5>
        <a:srgbClr val="FFC627"/>
      </a:accent5>
      <a:accent6>
        <a:srgbClr val="1792E5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9525" cmpd="sng"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 V3.potx" id="{072A8F60-D587-4413-B71E-E25EEABC022A}" vid="{34FDE730-04EA-4F4E-A193-E4B89531D624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
</file>

<file path=customXml/itemProps1.xml><?xml version="1.0" encoding="utf-8"?>
<ds:datastoreItem xmlns:ds="http://schemas.openxmlformats.org/officeDocument/2006/customXml" ds:itemID="{D0C9905A-CBD0-4539-91F7-7758145DCB1F}">
  <ds:schemaRefs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purl.org/dc/elements/1.1/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4275</TotalTime>
  <Words>4093</Words>
  <Application>Microsoft Office PowerPoint</Application>
  <PresentationFormat>On-screen Show (4:3)</PresentationFormat>
  <Paragraphs>1263</Paragraphs>
  <Slides>95</Slides>
  <Notes>57</Notes>
  <HiddenSlides>0</HiddenSlides>
  <MMClips>7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5</vt:i4>
      </vt:variant>
    </vt:vector>
  </HeadingPairs>
  <TitlesOfParts>
    <vt:vector size="111" baseType="lpstr">
      <vt:lpstr>Arial</vt:lpstr>
      <vt:lpstr>Arial monospaced for SAP</vt:lpstr>
      <vt:lpstr>Calibri</vt:lpstr>
      <vt:lpstr>Cambria</vt:lpstr>
      <vt:lpstr>Cambria Math</vt:lpstr>
      <vt:lpstr>Courier New</vt:lpstr>
      <vt:lpstr>Helvetica 55 Roman</vt:lpstr>
      <vt:lpstr>Helvetica Neue</vt:lpstr>
      <vt:lpstr>HelveticaNeue BoldCond</vt:lpstr>
      <vt:lpstr>HelveticaNeue MediumCond</vt:lpstr>
      <vt:lpstr>Times New Roman</vt:lpstr>
      <vt:lpstr>Wingdings</vt:lpstr>
      <vt:lpstr>2_HON_Honeywell PPT Template V44 potx</vt:lpstr>
      <vt:lpstr>Honeywell Theme</vt:lpstr>
      <vt:lpstr>1_Honeywell Theme</vt:lpstr>
      <vt:lpstr>think-cell Slide</vt:lpstr>
      <vt:lpstr>PowerPoint Presentation</vt:lpstr>
      <vt:lpstr>Overview</vt:lpstr>
      <vt:lpstr>Sense &amp; Avoid Introduction:  Airspace classification  UAS Traffic Management  Terminology  Reactive Avoidance</vt:lpstr>
      <vt:lpstr>Context of SAA:  Airspace classification (2.2)  </vt:lpstr>
      <vt:lpstr>Context of SAA:  Airspace restrictions (2.3)</vt:lpstr>
      <vt:lpstr>Context of SAA:  UAS Traffic Management (UTM) (2.5)</vt:lpstr>
      <vt:lpstr>Context of SAA:  Goal in controlled airspace:     Remain well clear</vt:lpstr>
      <vt:lpstr>Context of SAA:  Actors introduction</vt:lpstr>
      <vt:lpstr>Context of  SAA:  Reactive Sense &amp; Avoid</vt:lpstr>
      <vt:lpstr>Problems in Detect &amp; Avoid:   Explained as a story  Incremental problem definition</vt:lpstr>
      <vt:lpstr>PowerPoint Presentation</vt:lpstr>
      <vt:lpstr>How to get to the fine restaurant ?</vt:lpstr>
      <vt:lpstr>No problem, I know a map of my surroundings</vt:lpstr>
      <vt:lpstr>Forget your map, know the restaurant location</vt:lpstr>
      <vt:lpstr>I get to the first intersection, now what ?</vt:lpstr>
      <vt:lpstr>Look around, get know to your surroundings</vt:lpstr>
      <vt:lpstr>Walk a little more, get closer to the Restaurant</vt:lpstr>
      <vt:lpstr>Now Gentleman can see the Restaurant</vt:lpstr>
      <vt:lpstr>Enjoy a Pint</vt:lpstr>
      <vt:lpstr>You are NOT alone on the streets !</vt:lpstr>
      <vt:lpstr>Multiple source of information – Data Fusion</vt:lpstr>
      <vt:lpstr>Vigilantes &amp; Grannies – Static restriction areas</vt:lpstr>
      <vt:lpstr>Try to avoid static restrictions areas ! </vt:lpstr>
      <vt:lpstr>How about weather ?</vt:lpstr>
      <vt:lpstr>Rather get caught, than catching cold …</vt:lpstr>
      <vt:lpstr>Stick to the rules !</vt:lpstr>
      <vt:lpstr>Formal problem specification                         1/2</vt:lpstr>
      <vt:lpstr>Formal problem specification                         2/2</vt:lpstr>
      <vt:lpstr>Incremental problem definition:  [P1] Basic Avoidance</vt:lpstr>
      <vt:lpstr>Incremental problem definition:  [P2] Intruders Introduction</vt:lpstr>
      <vt:lpstr>Incremental problem definition:  [P3] Static restrictions</vt:lpstr>
      <vt:lpstr>Incremental problem definition:  [P4] Dynamic restrictions</vt:lpstr>
      <vt:lpstr>Incremental problem definition:  [P5] Rules of the air</vt:lpstr>
      <vt:lpstr>Related work:  Movement Automaton  Surveillance  Navigation  Reach set estimation</vt:lpstr>
      <vt:lpstr>Related work:   Movement automaton (5.1)</vt:lpstr>
      <vt:lpstr>Related work:  Surveillance (5.2)</vt:lpstr>
      <vt:lpstr>Related work:  Navigation (5.3)</vt:lpstr>
      <vt:lpstr>Related work:  Reach Set Estimation (5.4)</vt:lpstr>
      <vt:lpstr>Proposed Framework:  Overview  Avoidance Run  UTM Implementation  Rule Engine</vt:lpstr>
      <vt:lpstr>Proposed framework Overview</vt:lpstr>
      <vt:lpstr>UAS model</vt:lpstr>
      <vt:lpstr>UAS model:  3D unicycle (6.2.2)</vt:lpstr>
      <vt:lpstr>Movement Automaton </vt:lpstr>
      <vt:lpstr>Movement Automaton:  Movement set (6.2.3)</vt:lpstr>
      <vt:lpstr>Movement Automaton:  Trajectory (6.2.3)</vt:lpstr>
      <vt:lpstr>Reach set approximation</vt:lpstr>
      <vt:lpstr>Reach set approximation  Space segmentation – Avoidance Grid (6.3)</vt:lpstr>
      <vt:lpstr>Reach set approximation  The RSA definition</vt:lpstr>
      <vt:lpstr>Reach set approximation:  Trajectory properties (6.4.2)</vt:lpstr>
      <vt:lpstr>Reach set Approximation  Property based approximations (6.4.3)</vt:lpstr>
      <vt:lpstr>Reach set approximation:  Developed Reach set Approximations 1/2</vt:lpstr>
      <vt:lpstr>Reach set approximation:  Developed Reach set Approximations  2/2</vt:lpstr>
      <vt:lpstr>Mission plan</vt:lpstr>
      <vt:lpstr>ADS-B</vt:lpstr>
      <vt:lpstr>LiDAR</vt:lpstr>
      <vt:lpstr>Offline Maps – created from classified data</vt:lpstr>
      <vt:lpstr>Obstacle Map</vt:lpstr>
      <vt:lpstr>Avoidance Grid</vt:lpstr>
      <vt:lpstr>Avoidance run (6.5.1)  Step 1/7 Initialization</vt:lpstr>
      <vt:lpstr>Avoidance run (6.5.1)  Step 2/7 Threat (obstacle) assessment</vt:lpstr>
      <vt:lpstr>Avoidance run (6.5.1)  Step 3/7 Unknown state of the cells</vt:lpstr>
      <vt:lpstr>Avoidance run (6.5.1)  Step 4/7 Reach set approx. projection</vt:lpstr>
      <vt:lpstr>Avoidance run (6.5.1)  Step 6/7 Reachable/Unreachable</vt:lpstr>
      <vt:lpstr>Avoidance run (6.5.1)  Step 7/7 Trajectory selection</vt:lpstr>
      <vt:lpstr>Mission control run (6.5.2)  Multiple avoidance run joined together</vt:lpstr>
      <vt:lpstr>UAS Traffic Management Concept</vt:lpstr>
      <vt:lpstr>Rule engine</vt:lpstr>
      <vt:lpstr>Simulations:  Test plan</vt:lpstr>
      <vt:lpstr>Test plan</vt:lpstr>
      <vt:lpstr>Simulations  Maze Solver  Storm Avoidance</vt:lpstr>
      <vt:lpstr>Scenario (7.3.3)  Maze</vt:lpstr>
      <vt:lpstr>Scenario (7.3.4):  Storm</vt:lpstr>
      <vt:lpstr>Rules of the Air Simulations:  Converging Maneuver  Head On Approach  Overtake</vt:lpstr>
      <vt:lpstr>Converging Maneuver - Trigger</vt:lpstr>
      <vt:lpstr>Converging Maneuver - Resolution</vt:lpstr>
      <vt:lpstr>Converging Maneuver – Leave condition</vt:lpstr>
      <vt:lpstr>Scenario (7.4.1):  Rule-based converging</vt:lpstr>
      <vt:lpstr>Head On Approach - Trigger</vt:lpstr>
      <vt:lpstr>Head On Approach - Resolution</vt:lpstr>
      <vt:lpstr>Scenario (7.4.2):  Rule-based head-on</vt:lpstr>
      <vt:lpstr>Overtake Maneuver - Trigger</vt:lpstr>
      <vt:lpstr>Overtake Maneuver - Resolution</vt:lpstr>
      <vt:lpstr>Overtake Maneuver – Leave Condition</vt:lpstr>
      <vt:lpstr>Scenario (7.4.4):   Rule-based overtake</vt:lpstr>
      <vt:lpstr>Different speed:   Overtake Maneuver </vt:lpstr>
      <vt:lpstr>Simulations:  Cooperative vs. Noncooperative   Multi-Collision  Situations</vt:lpstr>
      <vt:lpstr>Cooperative separation scenario</vt:lpstr>
      <vt:lpstr>Scenario (7.4.3):   Rule-based mixed head-on with converging</vt:lpstr>
      <vt:lpstr>Non-cooperative separation scenario</vt:lpstr>
      <vt:lpstr>Scenario (7.3.7):   Emergency mixed head-on with converging</vt:lpstr>
      <vt:lpstr>Performance:   Non-cooperative separation scenario</vt:lpstr>
      <vt:lpstr>Simulations results – non-cooperative </vt:lpstr>
      <vt:lpstr>Simulations results – cooperative </vt:lpstr>
      <vt:lpstr>Conclusion</vt:lpstr>
      <vt:lpstr>Q&amp;A Sess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Alojz Gomola</cp:lastModifiedBy>
  <cp:revision>327</cp:revision>
  <cp:lastPrinted>2015-07-29T21:30:37Z</cp:lastPrinted>
  <dcterms:created xsi:type="dcterms:W3CDTF">2017-09-21T08:49:16Z</dcterms:created>
  <dcterms:modified xsi:type="dcterms:W3CDTF">2019-03-06T19:53:25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